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ommentAuthors.xml" ContentType="application/vnd.openxmlformats-officedocument.presentationml.commentAuthors+xml"/>
  <Override PartName="/ppt/comments/modernComment_144_C3B4110F.xml" ContentType="application/vnd.ms-powerpoint.comments+xml"/>
  <Override PartName="/ppt/embeddings/Microsoft_Excel_Binary_Worksheet.xlsb" ContentType="application/vnd.ms-excel.sheet.binary.macroEnabled.12"/>
  <Override PartName="/ppt/embeddings/Microsoft_Excel_Binary_Worksheet1.xlsb" ContentType="application/vnd.ms-excel.sheet.binary.macroEnabled.12"/>
  <Override PartName="/ppt/embeddings/Microsoft_Excel_Binary_Worksheet2.xlsb" ContentType="application/vnd.ms-excel.sheet.binary.macroEnabled.12"/>
  <Override PartName="/ppt/handoutMasters/handoutMaster1.xml" ContentType="application/vnd.openxmlformats-officedocument.presentationml.handoutMaster+xml"/>
  <Override PartName="/ppt/media/image10.svg" ContentType="image/svg+xml"/>
  <Override PartName="/ppt/media/image100.svg" ContentType="image/svg+xml"/>
  <Override PartName="/ppt/media/image102.svg" ContentType="image/svg+xml"/>
  <Override PartName="/ppt/media/image103.svg" ContentType="image/svg+xml"/>
  <Override PartName="/ppt/media/image107.svg" ContentType="image/svg+xml"/>
  <Override PartName="/ppt/media/image109.svg" ContentType="image/svg+xml"/>
  <Override PartName="/ppt/media/image111.svg" ContentType="image/svg+xml"/>
  <Override PartName="/ppt/media/image113.svg" ContentType="image/svg+xml"/>
  <Override PartName="/ppt/media/image121.svg" ContentType="image/svg+xml"/>
  <Override PartName="/ppt/media/image123.svg" ContentType="image/svg+xml"/>
  <Override PartName="/ppt/media/image126.svg" ContentType="image/svg+xml"/>
  <Override PartName="/ppt/media/image13.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49.svg" ContentType="image/svg+xml"/>
  <Override PartName="/ppt/media/image15.svg" ContentType="image/svg+xml"/>
  <Override PartName="/ppt/media/image151.svg" ContentType="image/svg+xml"/>
  <Override PartName="/ppt/media/image153.svg" ContentType="image/svg+xml"/>
  <Override PartName="/ppt/media/image154.svg" ContentType="image/svg+xml"/>
  <Override PartName="/ppt/media/image156.svg" ContentType="image/svg+xml"/>
  <Override PartName="/ppt/media/image158.svg" ContentType="image/svg+xml"/>
  <Override PartName="/ppt/media/image160.svg" ContentType="image/svg+xml"/>
  <Override PartName="/ppt/media/image164.svg" ContentType="image/svg+xml"/>
  <Override PartName="/ppt/media/image168.svg" ContentType="image/svg+xml"/>
  <Override PartName="/ppt/media/image17.svg" ContentType="image/svg+xml"/>
  <Override PartName="/ppt/media/image171.svg" ContentType="image/svg+xml"/>
  <Override PartName="/ppt/media/image173.svg" ContentType="image/svg+xml"/>
  <Override PartName="/ppt/media/image178.svg" ContentType="image/svg+xml"/>
  <Override PartName="/ppt/media/image180.svg" ContentType="image/svg+xml"/>
  <Override PartName="/ppt/media/image182.svg" ContentType="image/svg+xml"/>
  <Override PartName="/ppt/media/image183.svg" ContentType="image/svg+xml"/>
  <Override PartName="/ppt/media/image187.svg" ContentType="image/svg+xml"/>
  <Override PartName="/ppt/media/image19.svg" ContentType="image/svg+xml"/>
  <Override PartName="/ppt/media/image191.svg" ContentType="image/svg+xml"/>
  <Override PartName="/ppt/media/image193.svg" ContentType="image/svg+xml"/>
  <Override PartName="/ppt/media/image197.svg" ContentType="image/svg+xml"/>
  <Override PartName="/ppt/media/image2.svg" ContentType="image/svg+xml"/>
  <Override PartName="/ppt/media/image22.svg" ContentType="image/svg+xml"/>
  <Override PartName="/ppt/media/image25.svg" ContentType="image/svg+xml"/>
  <Override PartName="/ppt/media/image47.svg" ContentType="image/svg+xml"/>
  <Override PartName="/ppt/media/image49.svg" ContentType="image/svg+xml"/>
  <Override PartName="/ppt/media/image51.svg" ContentType="image/svg+xml"/>
  <Override PartName="/ppt/media/image53.svg" ContentType="image/svg+xml"/>
  <Override PartName="/ppt/media/image55.svg" ContentType="image/svg+xml"/>
  <Override PartName="/ppt/media/image57.svg" ContentType="image/svg+xml"/>
  <Override PartName="/ppt/media/image59.svg" ContentType="image/svg+xml"/>
  <Override PartName="/ppt/media/image6.svg" ContentType="image/svg+xml"/>
  <Override PartName="/ppt/media/image61.svg" ContentType="image/svg+xml"/>
  <Override PartName="/ppt/media/image63.svg" ContentType="image/svg+xml"/>
  <Override PartName="/ppt/media/image65.svg" ContentType="image/svg+xml"/>
  <Override PartName="/ppt/media/image67.svg" ContentType="image/svg+xml"/>
  <Override PartName="/ppt/media/image69.svg" ContentType="image/svg+xml"/>
  <Override PartName="/ppt/media/image71.svg" ContentType="image/svg+xml"/>
  <Override PartName="/ppt/media/image73.svg" ContentType="image/svg+xml"/>
  <Override PartName="/ppt/media/image75.svg" ContentType="image/svg+xml"/>
  <Override PartName="/ppt/media/image8.svg" ContentType="image/svg+xml"/>
  <Override PartName="/ppt/media/image84.svg" ContentType="image/svg+xml"/>
  <Override PartName="/ppt/media/image87.svg" ContentType="image/svg+xml"/>
  <Override PartName="/ppt/media/image91.svg" ContentType="image/svg+xml"/>
  <Override PartName="/ppt/media/image93.svg" ContentType="image/svg+xml"/>
  <Override PartName="/ppt/media/image95.svg" ContentType="image/svg+xml"/>
  <Override PartName="/ppt/media/image97.svg" ContentType="image/svg+xml"/>
  <Override PartName="/ppt/media/image9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163" r:id="rId4"/>
  </p:sldMasterIdLst>
  <p:notesMasterIdLst>
    <p:notesMasterId r:id="rId70"/>
  </p:notesMasterIdLst>
  <p:handoutMasterIdLst>
    <p:handoutMasterId r:id="rId71"/>
  </p:handoutMasterIdLst>
  <p:sldIdLst>
    <p:sldId id="2147480390" r:id="rId5"/>
    <p:sldId id="2147480571" r:id="rId6"/>
    <p:sldId id="2147480573" r:id="rId7"/>
    <p:sldId id="313" r:id="rId8"/>
    <p:sldId id="329" r:id="rId9"/>
    <p:sldId id="280" r:id="rId10"/>
    <p:sldId id="2147480574" r:id="rId11"/>
    <p:sldId id="2147480438" r:id="rId12"/>
    <p:sldId id="263" r:id="rId13"/>
    <p:sldId id="2147480416" r:id="rId14"/>
    <p:sldId id="258" r:id="rId15"/>
    <p:sldId id="2147480444" r:id="rId16"/>
    <p:sldId id="293" r:id="rId17"/>
    <p:sldId id="2147480447" r:id="rId18"/>
    <p:sldId id="2147480461" r:id="rId19"/>
    <p:sldId id="2147480452" r:id="rId20"/>
    <p:sldId id="2147480459" r:id="rId21"/>
    <p:sldId id="285" r:id="rId22"/>
    <p:sldId id="323" r:id="rId23"/>
    <p:sldId id="326" r:id="rId24"/>
    <p:sldId id="327" r:id="rId25"/>
    <p:sldId id="2147480563" r:id="rId26"/>
    <p:sldId id="330" r:id="rId27"/>
    <p:sldId id="332" r:id="rId28"/>
    <p:sldId id="2147480572" r:id="rId29"/>
    <p:sldId id="277" r:id="rId30"/>
    <p:sldId id="2147483646" r:id="rId31"/>
    <p:sldId id="281" r:id="rId32"/>
    <p:sldId id="300" r:id="rId33"/>
    <p:sldId id="299" r:id="rId34"/>
    <p:sldId id="333" r:id="rId35"/>
    <p:sldId id="256" r:id="rId36"/>
    <p:sldId id="336" r:id="rId37"/>
    <p:sldId id="2147483647" r:id="rId38"/>
    <p:sldId id="312" r:id="rId39"/>
    <p:sldId id="338" r:id="rId40"/>
    <p:sldId id="296" r:id="rId41"/>
    <p:sldId id="339" r:id="rId42"/>
    <p:sldId id="320" r:id="rId43"/>
    <p:sldId id="271" r:id="rId44"/>
    <p:sldId id="270" r:id="rId45"/>
    <p:sldId id="260" r:id="rId46"/>
    <p:sldId id="261" r:id="rId47"/>
    <p:sldId id="268" r:id="rId48"/>
    <p:sldId id="273" r:id="rId49"/>
    <p:sldId id="274" r:id="rId50"/>
    <p:sldId id="337" r:id="rId51"/>
    <p:sldId id="297" r:id="rId52"/>
    <p:sldId id="334" r:id="rId53"/>
    <p:sldId id="257" r:id="rId54"/>
    <p:sldId id="298" r:id="rId55"/>
    <p:sldId id="269" r:id="rId56"/>
    <p:sldId id="275" r:id="rId57"/>
    <p:sldId id="265" r:id="rId58"/>
    <p:sldId id="267" r:id="rId59"/>
    <p:sldId id="324" r:id="rId60"/>
    <p:sldId id="291" r:id="rId61"/>
    <p:sldId id="259" r:id="rId62"/>
    <p:sldId id="301" r:id="rId63"/>
    <p:sldId id="307" r:id="rId64"/>
    <p:sldId id="308" r:id="rId65"/>
    <p:sldId id="264" r:id="rId66"/>
    <p:sldId id="302" r:id="rId67"/>
    <p:sldId id="262" r:id="rId68"/>
    <p:sldId id="266" r:id="rId69"/>
  </p:sldIdLst>
  <p:sldSz cx="9144000" cy="5143500" type="screen16x9"/>
  <p:notesSz cx="6808788" cy="9940925"/>
  <p:embeddedFontLst>
    <p:embeddedFont>
      <p:font typeface="Arial Black" panose="020B0604020202020204" pitchFamily="34" charset="0"/>
      <p:bold r:id="rId72"/>
    </p:embeddedFont>
    <p:embeddedFont>
      <p:font typeface="Montserrat" pitchFamily="2" charset="77"/>
      <p:regular r:id="rId73"/>
      <p:bold r:id="rId74"/>
      <p:italic r:id="rId75"/>
      <p:boldItalic r:id="rId76"/>
    </p:embeddedFont>
    <p:embeddedFont>
      <p:font typeface="Proximus" pitchFamily="2" charset="77"/>
      <p:regular r:id="rId77"/>
      <p:bold r:id="rId78"/>
      <p:italic r:id="rId79"/>
      <p:boldItalic r:id="rId80"/>
    </p:embeddedFont>
    <p:embeddedFont>
      <p:font typeface="Proximus (Body)" pitchFamily="2" charset="77"/>
      <p:regular r:id="rId81"/>
      <p:bold r:id="rId82"/>
      <p:italic r:id="rId83"/>
      <p:boldItalic r:id="rId84"/>
    </p:embeddedFont>
    <p:embeddedFont>
      <p:font typeface="Proximus Bold" pitchFamily="2" charset="77"/>
      <p:bold r:id="rId85"/>
      <p:italic r:id="rId86"/>
      <p:boldItalic r:id="rId87"/>
    </p:embeddedFont>
    <p:embeddedFont>
      <p:font typeface="Proximus ExtraBold" pitchFamily="2" charset="77"/>
      <p:bold r:id="rId88"/>
    </p:embeddedFont>
    <p:embeddedFont>
      <p:font typeface="Proximus Light" pitchFamily="2" charset="77"/>
      <p:regular r:id="rId89"/>
      <p:italic r:id="rId90"/>
    </p:embeddedFont>
    <p:embeddedFont>
      <p:font typeface="Segoe UI" panose="020B0502040204020203" pitchFamily="34" charset="0"/>
      <p:regular r:id="rId91"/>
      <p:bold r:id="rId92"/>
      <p:italic r:id="rId93"/>
      <p:boldItalic r:id="rId94"/>
    </p:embeddedFont>
  </p:embeddedFontLst>
  <p:custDataLst>
    <p:tags r:id="rId95"/>
  </p:custDataLst>
  <p:defaultTextStyle>
    <a:defPPr>
      <a:defRPr lang="en-US"/>
    </a:defPPr>
    <a:lvl1pPr marL="0" algn="l" defTabSz="408104" rtl="0" eaLnBrk="1" latinLnBrk="0" hangingPunct="1">
      <a:defRPr sz="1620" kern="1200">
        <a:solidFill>
          <a:schemeClr val="tx1"/>
        </a:solidFill>
        <a:latin typeface="+mn-lt"/>
        <a:ea typeface="+mn-ea"/>
        <a:cs typeface="+mn-cs"/>
      </a:defRPr>
    </a:lvl1pPr>
    <a:lvl2pPr marL="408104" algn="l" defTabSz="408104" rtl="0" eaLnBrk="1" latinLnBrk="0" hangingPunct="1">
      <a:defRPr sz="1620" kern="1200">
        <a:solidFill>
          <a:schemeClr val="tx1"/>
        </a:solidFill>
        <a:latin typeface="+mn-lt"/>
        <a:ea typeface="+mn-ea"/>
        <a:cs typeface="+mn-cs"/>
      </a:defRPr>
    </a:lvl2pPr>
    <a:lvl3pPr marL="816209" algn="l" defTabSz="408104" rtl="0" eaLnBrk="1" latinLnBrk="0" hangingPunct="1">
      <a:defRPr sz="1620" kern="1200">
        <a:solidFill>
          <a:schemeClr val="tx1"/>
        </a:solidFill>
        <a:latin typeface="+mn-lt"/>
        <a:ea typeface="+mn-ea"/>
        <a:cs typeface="+mn-cs"/>
      </a:defRPr>
    </a:lvl3pPr>
    <a:lvl4pPr marL="1224314" algn="l" defTabSz="408104" rtl="0" eaLnBrk="1" latinLnBrk="0" hangingPunct="1">
      <a:defRPr sz="1620" kern="1200">
        <a:solidFill>
          <a:schemeClr val="tx1"/>
        </a:solidFill>
        <a:latin typeface="+mn-lt"/>
        <a:ea typeface="+mn-ea"/>
        <a:cs typeface="+mn-cs"/>
      </a:defRPr>
    </a:lvl4pPr>
    <a:lvl5pPr marL="1632419" algn="l" defTabSz="408104" rtl="0" eaLnBrk="1" latinLnBrk="0" hangingPunct="1">
      <a:defRPr sz="1620" kern="1200">
        <a:solidFill>
          <a:schemeClr val="tx1"/>
        </a:solidFill>
        <a:latin typeface="+mn-lt"/>
        <a:ea typeface="+mn-ea"/>
        <a:cs typeface="+mn-cs"/>
      </a:defRPr>
    </a:lvl5pPr>
    <a:lvl6pPr marL="2040523" algn="l" defTabSz="408104" rtl="0" eaLnBrk="1" latinLnBrk="0" hangingPunct="1">
      <a:defRPr sz="1620" kern="1200">
        <a:solidFill>
          <a:schemeClr val="tx1"/>
        </a:solidFill>
        <a:latin typeface="+mn-lt"/>
        <a:ea typeface="+mn-ea"/>
        <a:cs typeface="+mn-cs"/>
      </a:defRPr>
    </a:lvl6pPr>
    <a:lvl7pPr marL="2448629" algn="l" defTabSz="408104" rtl="0" eaLnBrk="1" latinLnBrk="0" hangingPunct="1">
      <a:defRPr sz="1620" kern="1200">
        <a:solidFill>
          <a:schemeClr val="tx1"/>
        </a:solidFill>
        <a:latin typeface="+mn-lt"/>
        <a:ea typeface="+mn-ea"/>
        <a:cs typeface="+mn-cs"/>
      </a:defRPr>
    </a:lvl7pPr>
    <a:lvl8pPr marL="2856731" algn="l" defTabSz="408104" rtl="0" eaLnBrk="1" latinLnBrk="0" hangingPunct="1">
      <a:defRPr sz="1620" kern="1200">
        <a:solidFill>
          <a:schemeClr val="tx1"/>
        </a:solidFill>
        <a:latin typeface="+mn-lt"/>
        <a:ea typeface="+mn-ea"/>
        <a:cs typeface="+mn-cs"/>
      </a:defRPr>
    </a:lvl8pPr>
    <a:lvl9pPr marL="3264837" algn="l" defTabSz="408104" rtl="0" eaLnBrk="1" latinLnBrk="0" hangingPunct="1">
      <a:defRPr sz="162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21" userDrawn="1">
          <p15:clr>
            <a:srgbClr val="A4A3A4"/>
          </p15:clr>
        </p15:guide>
        <p15:guide id="3" orient="horz" pos="2232" userDrawn="1">
          <p15:clr>
            <a:srgbClr val="A4A3A4"/>
          </p15:clr>
        </p15:guide>
        <p15:guide id="4" pos="2880">
          <p15:clr>
            <a:srgbClr val="A4A3A4"/>
          </p15:clr>
        </p15:guide>
        <p15:guide id="5" pos="353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4E8D0B-38FE-A974-2DB3-CDB39689669E}" name="Erik Hubin" initials="EH" userId="S::erik@jdi.be::903481c7-77a2-4d51-8b17-a05aabc600a4" providerId="AD"/>
  <p188:author id="{7492054A-7017-6914-7D0B-7EDB12434BB4}" name="SOMERS Robin (FIB/MST)" initials="RS" userId="S::robin.somers@proximus.com::e55d616e-e62c-46f2-a005-7c11f4b2335c" providerId="AD"/>
  <p188:author id="{E1E7E78B-0712-C90F-14B2-56711AEE3B86}" name="VAN HENDE Peter (BCM/BCS)" initials="VHP(" userId="S::Peter.VANHENDE@proximus.com::9a0dc8f5-b1fe-43ec-9d9f-7aa03826f60b" providerId="AD"/>
  <p188:author id="{A8D8FDC2-7ADC-233A-97F1-94E1BCE63218}" name="STEVENS Valérie (TCC/MST)" initials="VS" userId="S::valerie.stevens@proximus.com::66cb5e8d-7e0c-45c4-9e4b-629ca66868bc" providerId="AD"/>
  <p188:author id="{1E185ED0-FC51-9FCD-EBA2-B6844897355C}" name="Isabel Springuel" initials="" userId="S::isabel@jdi.be::92b7aaa4-4365-4418-997c-197315f76a72" providerId="AD"/>
  <p188:author id="{A9D404D7-E8BD-98D1-952E-9CE5C4694ED8}" name="STOCKMAN Gert-Jan (NBU/MST)" initials="GS" userId="S::gert.jan.stockman@proximus.com::4e8aca85-e747-440d-b0b0-710efebe7ab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rien" initials="K" lastIdx="11" clrIdx="0">
    <p:extLst>
      <p:ext uri="{19B8F6BF-5375-455C-9EA6-DF929625EA0E}">
        <p15:presenceInfo xmlns:p15="http://schemas.microsoft.com/office/powerpoint/2012/main" userId="S::katrien.van.liefde@proximus.com::615d3f60-701a-4fcc-b044-7a9f28e87149" providerId="AD"/>
      </p:ext>
    </p:extLst>
  </p:cmAuthor>
  <p:cmAuthor id="2" name="VAN DER AA Britt (DAG/DAN)" initials="V(" lastIdx="4" clrIdx="1">
    <p:extLst>
      <p:ext uri="{19B8F6BF-5375-455C-9EA6-DF929625EA0E}">
        <p15:presenceInfo xmlns:p15="http://schemas.microsoft.com/office/powerpoint/2012/main" userId="S::britt.van.der.aa@proximus.com::de2ddb29-f3e9-4ef2-833a-4c992b260b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4F9"/>
    <a:srgbClr val="41C3FF"/>
    <a:srgbClr val="F3800B"/>
    <a:srgbClr val="141C24"/>
    <a:srgbClr val="E48413"/>
    <a:srgbClr val="70934E"/>
    <a:srgbClr val="E70462"/>
    <a:srgbClr val="41AA80"/>
    <a:srgbClr val="BA2E58"/>
    <a:srgbClr val="E13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35"/>
    <p:restoredTop sz="75656" autoAdjust="0"/>
  </p:normalViewPr>
  <p:slideViewPr>
    <p:cSldViewPr snapToGrid="0">
      <p:cViewPr varScale="1">
        <p:scale>
          <a:sx n="144" d="100"/>
          <a:sy n="144" d="100"/>
        </p:scale>
        <p:origin x="400" y="360"/>
      </p:cViewPr>
      <p:guideLst>
        <p:guide orient="horz" pos="1121"/>
        <p:guide orient="horz" pos="2232"/>
        <p:guide pos="2880"/>
        <p:guide pos="3538"/>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notesMaster" Target="notesMasters/notesMaster1.xml"/><Relationship Id="rId71" Type="http://schemas.openxmlformats.org/officeDocument/2006/relationships/handoutMaster" Target="handoutMasters/handoutMaster1.xml"/><Relationship Id="rId72" Type="http://schemas.openxmlformats.org/officeDocument/2006/relationships/font" Target="fonts/font1.fntdata"/><Relationship Id="rId73" Type="http://schemas.openxmlformats.org/officeDocument/2006/relationships/font" Target="fonts/font2.fntdata"/><Relationship Id="rId74" Type="http://schemas.openxmlformats.org/officeDocument/2006/relationships/font" Target="fonts/font3.fntdata"/><Relationship Id="rId75" Type="http://schemas.openxmlformats.org/officeDocument/2006/relationships/font" Target="fonts/font4.fntdata"/><Relationship Id="rId76" Type="http://schemas.openxmlformats.org/officeDocument/2006/relationships/font" Target="fonts/font5.fntdata"/><Relationship Id="rId77" Type="http://schemas.openxmlformats.org/officeDocument/2006/relationships/font" Target="fonts/font6.fntdata"/><Relationship Id="rId78" Type="http://schemas.openxmlformats.org/officeDocument/2006/relationships/font" Target="fonts/font7.fntdata"/><Relationship Id="rId79" Type="http://schemas.openxmlformats.org/officeDocument/2006/relationships/font" Target="fonts/font8.fntdata"/><Relationship Id="rId80" Type="http://schemas.openxmlformats.org/officeDocument/2006/relationships/font" Target="fonts/font9.fntdata"/><Relationship Id="rId81" Type="http://schemas.openxmlformats.org/officeDocument/2006/relationships/font" Target="fonts/font10.fntdata"/><Relationship Id="rId82" Type="http://schemas.openxmlformats.org/officeDocument/2006/relationships/font" Target="fonts/font11.fntdata"/><Relationship Id="rId83" Type="http://schemas.openxmlformats.org/officeDocument/2006/relationships/font" Target="fonts/font12.fntdata"/><Relationship Id="rId84" Type="http://schemas.openxmlformats.org/officeDocument/2006/relationships/font" Target="fonts/font13.fntdata"/><Relationship Id="rId85" Type="http://schemas.openxmlformats.org/officeDocument/2006/relationships/font" Target="fonts/font14.fntdata"/><Relationship Id="rId86" Type="http://schemas.openxmlformats.org/officeDocument/2006/relationships/font" Target="fonts/font15.fntdata"/><Relationship Id="rId87" Type="http://schemas.openxmlformats.org/officeDocument/2006/relationships/font" Target="fonts/font16.fntdata"/><Relationship Id="rId88" Type="http://schemas.openxmlformats.org/officeDocument/2006/relationships/font" Target="fonts/font17.fntdata"/><Relationship Id="rId89" Type="http://schemas.openxmlformats.org/officeDocument/2006/relationships/font" Target="fonts/font18.fntdata"/><Relationship Id="rId90" Type="http://schemas.openxmlformats.org/officeDocument/2006/relationships/font" Target="fonts/font19.fntdata"/><Relationship Id="rId91" Type="http://schemas.openxmlformats.org/officeDocument/2006/relationships/font" Target="fonts/font20.fntdata"/><Relationship Id="rId92" Type="http://schemas.openxmlformats.org/officeDocument/2006/relationships/font" Target="fonts/font21.fntdata"/><Relationship Id="rId93" Type="http://schemas.openxmlformats.org/officeDocument/2006/relationships/font" Target="fonts/font22.fntdata"/><Relationship Id="rId94" Type="http://schemas.openxmlformats.org/officeDocument/2006/relationships/font" Target="fonts/font23.fntdata"/><Relationship Id="rId95" Type="http://schemas.openxmlformats.org/officeDocument/2006/relationships/tags" Target="tags/tag1.xml"/><Relationship Id="rId96" Type="http://schemas.openxmlformats.org/officeDocument/2006/relationships/commentAuthors" Target="commentAuthors.xml"/><Relationship Id="rId97" Type="http://schemas.openxmlformats.org/officeDocument/2006/relationships/presProps" Target="presProps.xml"/><Relationship Id="rId98" Type="http://schemas.openxmlformats.org/officeDocument/2006/relationships/viewProps" Target="viewProps.xml"/><Relationship Id="rId99" Type="http://schemas.openxmlformats.org/officeDocument/2006/relationships/theme" Target="theme/theme1.xml"/><Relationship Id="rId100" Type="http://schemas.openxmlformats.org/officeDocument/2006/relationships/tableStyles" Target="tableStyles.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19607843137254E-3"/>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FBF3-451F-ADF4-1D6DB2E66992}"/>
              </c:ext>
            </c:extLst>
          </c:dPt>
          <c:dPt>
            <c:idx val="1"/>
            <c:bubble3D val="0"/>
            <c:spPr>
              <a:solidFill>
                <a:schemeClr val="tx1"/>
              </a:solidFill>
              <a:ln>
                <a:noFill/>
              </a:ln>
            </c:spPr>
            <c:extLst>
              <c:ext xmlns:c16="http://schemas.microsoft.com/office/drawing/2014/chart" uri="{C3380CC4-5D6E-409C-BE32-E72D297353CC}">
                <c16:uniqueId val="{00000003-FBF3-451F-ADF4-1D6DB2E66992}"/>
              </c:ext>
            </c:extLst>
          </c:dPt>
          <c:val>
            <c:numRef>
              <c:f>Sheet1!$A$1:$A$2</c:f>
              <c:numCache>
                <c:formatCode>General</c:formatCode>
                <c:ptCount val="2"/>
                <c:pt idx="0">
                  <c:v>806</c:v>
                </c:pt>
                <c:pt idx="1">
                  <c:v>156</c:v>
                </c:pt>
              </c:numCache>
            </c:numRef>
          </c:val>
          <c:extLst>
            <c:ext xmlns:c16="http://schemas.microsoft.com/office/drawing/2014/chart" uri="{C3380CC4-5D6E-409C-BE32-E72D297353CC}">
              <c16:uniqueId val="{00000004-FBF3-451F-ADF4-1D6DB2E66992}"/>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5490196078427E-2"/>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03C7-40E0-A592-832B92B7B575}"/>
              </c:ext>
            </c:extLst>
          </c:dPt>
          <c:dPt>
            <c:idx val="1"/>
            <c:bubble3D val="0"/>
            <c:spPr>
              <a:solidFill>
                <a:schemeClr val="tx1"/>
              </a:solidFill>
              <a:ln>
                <a:noFill/>
              </a:ln>
            </c:spPr>
            <c:extLst>
              <c:ext xmlns:c16="http://schemas.microsoft.com/office/drawing/2014/chart" uri="{C3380CC4-5D6E-409C-BE32-E72D297353CC}">
                <c16:uniqueId val="{00000003-03C7-40E0-A592-832B92B7B575}"/>
              </c:ext>
            </c:extLst>
          </c:dPt>
          <c:val>
            <c:numRef>
              <c:f>Sheet1!$A$1:$A$2</c:f>
              <c:numCache>
                <c:formatCode>General</c:formatCode>
                <c:ptCount val="2"/>
                <c:pt idx="0">
                  <c:v>650</c:v>
                </c:pt>
                <c:pt idx="1">
                  <c:v>40</c:v>
                </c:pt>
              </c:numCache>
            </c:numRef>
          </c:val>
          <c:extLst>
            <c:ext xmlns:c16="http://schemas.microsoft.com/office/drawing/2014/chart" uri="{C3380CC4-5D6E-409C-BE32-E72D297353CC}">
              <c16:uniqueId val="{00000004-03C7-40E0-A592-832B92B7B575}"/>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5490196078427E-2"/>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58FD-4465-90CF-397EF6538B0B}"/>
              </c:ext>
            </c:extLst>
          </c:dPt>
          <c:dPt>
            <c:idx val="1"/>
            <c:bubble3D val="0"/>
            <c:spPr>
              <a:solidFill>
                <a:schemeClr val="tx1"/>
              </a:solidFill>
              <a:ln>
                <a:noFill/>
              </a:ln>
            </c:spPr>
            <c:extLst>
              <c:ext xmlns:c16="http://schemas.microsoft.com/office/drawing/2014/chart" uri="{C3380CC4-5D6E-409C-BE32-E72D297353CC}">
                <c16:uniqueId val="{00000003-58FD-4465-90CF-397EF6538B0B}"/>
              </c:ext>
            </c:extLst>
          </c:dPt>
          <c:val>
            <c:numRef>
              <c:f>Sheet1!$A$1:$A$2</c:f>
              <c:numCache>
                <c:formatCode>General</c:formatCode>
                <c:ptCount val="2"/>
                <c:pt idx="0">
                  <c:v>650</c:v>
                </c:pt>
                <c:pt idx="1">
                  <c:v>40</c:v>
                </c:pt>
              </c:numCache>
            </c:numRef>
          </c:val>
          <c:extLst>
            <c:ext xmlns:c16="http://schemas.microsoft.com/office/drawing/2014/chart" uri="{C3380CC4-5D6E-409C-BE32-E72D297353CC}">
              <c16:uniqueId val="{00000004-58FD-4465-90CF-397EF6538B0B}"/>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omments/modernComment_144_C3B4110F.xml><?xml version="1.0" encoding="utf-8"?>
<p188:cmLst xmlns:a="http://schemas.openxmlformats.org/drawingml/2006/main" xmlns:r="http://schemas.openxmlformats.org/officeDocument/2006/relationships" xmlns:p188="http://schemas.microsoft.com/office/powerpoint/2018/8/main">
  <p188:cm id="{ACCAF393-AD7A-AC4B-ACB8-63C053A1B819}" authorId="{FB4E8D0B-38FE-A974-2DB3-CDB39689669E}" created="2025-01-31T09:50:44.030">
    <pc:sldMkLst xmlns:pc="http://schemas.microsoft.com/office/powerpoint/2013/main/command">
      <pc:docMk/>
      <pc:sldMk cId="3283357967" sldId="324"/>
    </pc:sldMkLst>
    <p188:txBody>
      <a:bodyPr/>
      <a:lstStyle/>
      <a:p>
        <a:r>
          <a:rPr lang="en-BE"/>
          <a:t>Shouldn’t we explain first SWP? &gt; Strategic Workforce Planning. 
That’s why the previous slide was included &amp; to make a nice transition to the “What &amp; how” par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nl-BE">
              <a:latin typeface="Proximus Light" pitchFamily="2" charset="77"/>
            </a:endParaRPr>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9B1E5816-012C-4657-ABCB-5E35F34A909A}" type="datetimeFigureOut">
              <a:rPr lang="nl-BE" smtClean="0">
                <a:latin typeface="Proximus Light" pitchFamily="2" charset="77"/>
              </a:rPr>
              <a:t>3/02/2025</a:t>
            </a:fld>
            <a:endParaRPr lang="nl-BE">
              <a:latin typeface="Proximus Light" pitchFamily="2" charset="77"/>
            </a:endParaRPr>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nl-BE">
              <a:latin typeface="Proximus Light" pitchFamily="2" charset="77"/>
            </a:endParaRPr>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FE29ED09-90F3-4F46-8286-0AF9C6F7431C}" type="slidenum">
              <a:rPr lang="nl-BE" smtClean="0">
                <a:latin typeface="Proximus Light" pitchFamily="2" charset="77"/>
              </a:rPr>
              <a:t>‹#›</a:t>
            </a:fld>
            <a:endParaRPr lang="nl-BE">
              <a:latin typeface="Proximus Light" pitchFamily="2" charset="77"/>
            </a:endParaRPr>
          </a:p>
        </p:txBody>
      </p:sp>
    </p:spTree>
    <p:extLst>
      <p:ext uri="{BB962C8B-B14F-4D97-AF65-F5344CB8AC3E}">
        <p14:creationId xmlns:p14="http://schemas.microsoft.com/office/powerpoint/2010/main" val="18357324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atin typeface="Proximus Bold" panose="00000500000000000000" pitchFamily="2" charset="0"/>
              </a:defRPr>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atin typeface="Proximus Bold" panose="00000500000000000000" pitchFamily="2" charset="0"/>
              </a:defRPr>
            </a:lvl1pPr>
          </a:lstStyle>
          <a:p>
            <a:fld id="{CACFB5A8-D2CE-9746-84B2-914D3A27AA22}" type="datetimeFigureOut">
              <a:rPr lang="en-US" smtClean="0"/>
              <a:pPr/>
              <a:t>2/3/25</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atin typeface="Proximus Bold" panose="00000500000000000000" pitchFamily="2" charset="0"/>
              </a:defRPr>
            </a:lvl1pPr>
          </a:lstStyle>
          <a:p>
            <a:endParaRPr lang="en-US"/>
          </a:p>
        </p:txBody>
      </p:sp>
      <p:sp>
        <p:nvSpPr>
          <p:cNvPr id="7" name="Slide Number Placeholder 6"/>
          <p:cNvSpPr>
            <a:spLocks noGrp="1"/>
          </p:cNvSpPr>
          <p:nvPr>
            <p:ph type="sldNum" sz="quarter" idx="5"/>
          </p:nvPr>
        </p:nvSpPr>
        <p:spPr>
          <a:xfrm>
            <a:off x="3858313" y="9442154"/>
            <a:ext cx="2950475" cy="498772"/>
          </a:xfrm>
          <a:prstGeom prst="rect">
            <a:avLst/>
          </a:prstGeom>
        </p:spPr>
        <p:txBody>
          <a:bodyPr vert="horz" lIns="91440" tIns="45720" rIns="91440" bIns="45720" rtlCol="0" anchor="b"/>
          <a:lstStyle>
            <a:lvl1pPr algn="r">
              <a:defRPr sz="1200">
                <a:latin typeface="Proximus Bold" panose="00000500000000000000" pitchFamily="2" charset="0"/>
              </a:defRPr>
            </a:lvl1pPr>
          </a:lstStyle>
          <a:p>
            <a:fld id="{FA918F22-1231-AB43-96E7-2B8B890DCD5E}" type="slidenum">
              <a:rPr lang="en-US" smtClean="0"/>
              <a:pPr/>
              <a:t>‹#›</a:t>
            </a:fld>
            <a:endParaRPr lang="en-US"/>
          </a:p>
        </p:txBody>
      </p:sp>
    </p:spTree>
    <p:extLst>
      <p:ext uri="{BB962C8B-B14F-4D97-AF65-F5344CB8AC3E}">
        <p14:creationId xmlns:p14="http://schemas.microsoft.com/office/powerpoint/2010/main" val="939704679"/>
      </p:ext>
    </p:extLst>
  </p:cSld>
  <p:clrMap bg1="lt1" tx1="dk1" bg2="lt2" tx2="dk2" accent1="accent1" accent2="accent2" accent3="accent3" accent4="accent4" accent5="accent5" accent6="accent6" hlink="hlink" folHlink="folHlink"/>
  <p:notesStyle>
    <a:lvl1pPr marL="0" algn="l" defTabSz="411480" rtl="0" eaLnBrk="1" latinLnBrk="0" hangingPunct="1">
      <a:defRPr sz="540" kern="1200">
        <a:solidFill>
          <a:schemeClr val="tx1"/>
        </a:solidFill>
        <a:latin typeface="Proximus Bold" panose="00000500000000000000" pitchFamily="2" charset="0"/>
        <a:ea typeface="+mn-ea"/>
        <a:cs typeface="+mn-cs"/>
      </a:defRPr>
    </a:lvl1pPr>
    <a:lvl2pPr marL="205740" algn="l" defTabSz="411480" rtl="0" eaLnBrk="1" latinLnBrk="0" hangingPunct="1">
      <a:defRPr sz="540" kern="1200">
        <a:solidFill>
          <a:schemeClr val="tx1"/>
        </a:solidFill>
        <a:latin typeface="Proximus Bold" panose="00000500000000000000" pitchFamily="2" charset="0"/>
        <a:ea typeface="+mn-ea"/>
        <a:cs typeface="+mn-cs"/>
      </a:defRPr>
    </a:lvl2pPr>
    <a:lvl3pPr marL="411480" algn="l" defTabSz="411480" rtl="0" eaLnBrk="1" latinLnBrk="0" hangingPunct="1">
      <a:defRPr sz="540" kern="1200">
        <a:solidFill>
          <a:schemeClr val="tx1"/>
        </a:solidFill>
        <a:latin typeface="Proximus Bold" panose="00000500000000000000" pitchFamily="2" charset="0"/>
        <a:ea typeface="+mn-ea"/>
        <a:cs typeface="+mn-cs"/>
      </a:defRPr>
    </a:lvl3pPr>
    <a:lvl4pPr marL="617220" algn="l" defTabSz="411480" rtl="0" eaLnBrk="1" latinLnBrk="0" hangingPunct="1">
      <a:defRPr sz="540" kern="1200">
        <a:solidFill>
          <a:schemeClr val="tx1"/>
        </a:solidFill>
        <a:latin typeface="Proximus Bold" panose="00000500000000000000" pitchFamily="2" charset="0"/>
        <a:ea typeface="+mn-ea"/>
        <a:cs typeface="+mn-cs"/>
      </a:defRPr>
    </a:lvl4pPr>
    <a:lvl5pPr marL="822960" algn="l" defTabSz="411480" rtl="0" eaLnBrk="1" latinLnBrk="0" hangingPunct="1">
      <a:defRPr sz="540" kern="1200">
        <a:solidFill>
          <a:schemeClr val="tx1"/>
        </a:solidFill>
        <a:latin typeface="Proximus Bold" panose="00000500000000000000" pitchFamily="2" charset="0"/>
        <a:ea typeface="+mn-ea"/>
        <a:cs typeface="+mn-cs"/>
      </a:defRPr>
    </a:lvl5pPr>
    <a:lvl6pPr marL="1028700" algn="l" defTabSz="411480" rtl="0" eaLnBrk="1" latinLnBrk="0" hangingPunct="1">
      <a:defRPr sz="540" kern="1200">
        <a:solidFill>
          <a:schemeClr val="tx1"/>
        </a:solidFill>
        <a:latin typeface="+mn-lt"/>
        <a:ea typeface="+mn-ea"/>
        <a:cs typeface="+mn-cs"/>
      </a:defRPr>
    </a:lvl6pPr>
    <a:lvl7pPr marL="1234440" algn="l" defTabSz="411480" rtl="0" eaLnBrk="1" latinLnBrk="0" hangingPunct="1">
      <a:defRPr sz="540" kern="1200">
        <a:solidFill>
          <a:schemeClr val="tx1"/>
        </a:solidFill>
        <a:latin typeface="+mn-lt"/>
        <a:ea typeface="+mn-ea"/>
        <a:cs typeface="+mn-cs"/>
      </a:defRPr>
    </a:lvl7pPr>
    <a:lvl8pPr marL="1440180" algn="l" defTabSz="411480" rtl="0" eaLnBrk="1" latinLnBrk="0" hangingPunct="1">
      <a:defRPr sz="540" kern="1200">
        <a:solidFill>
          <a:schemeClr val="tx1"/>
        </a:solidFill>
        <a:latin typeface="+mn-lt"/>
        <a:ea typeface="+mn-ea"/>
        <a:cs typeface="+mn-cs"/>
      </a:defRPr>
    </a:lvl8pPr>
    <a:lvl9pPr marL="1645920" algn="l" defTabSz="411480" rtl="0" eaLnBrk="1" latinLnBrk="0" hangingPunct="1">
      <a:defRPr sz="5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solidFill>
                  <a:schemeClr val="accent6"/>
                </a:solidFill>
              </a:rPr>
              <a:t>MAGALI &amp; ROBIN </a:t>
            </a:r>
            <a:r>
              <a:rPr lang="en-US" sz="1100">
                <a:solidFill>
                  <a:schemeClr val="accent6"/>
                </a:solidFill>
              </a:rPr>
              <a:t>on stage</a:t>
            </a:r>
            <a:endParaRPr lang="fr-BE" sz="110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a:t>
            </a:fld>
            <a:endParaRPr lang="en-US"/>
          </a:p>
        </p:txBody>
      </p:sp>
    </p:spTree>
    <p:extLst>
      <p:ext uri="{BB962C8B-B14F-4D97-AF65-F5344CB8AC3E}">
        <p14:creationId xmlns:p14="http://schemas.microsoft.com/office/powerpoint/2010/main" val="636219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78166-1299-DE94-9590-550EB642F4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3C62CA-5518-F210-9E56-362641B5C0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7A2F40-6119-FFDD-6317-EAA23B77D436}"/>
              </a:ext>
            </a:extLst>
          </p:cNvPr>
          <p:cNvSpPr>
            <a:spLocks noGrp="1"/>
          </p:cNvSpPr>
          <p:nvPr>
            <p:ph type="body" idx="1"/>
          </p:nvPr>
        </p:nvSpPr>
        <p:spPr/>
        <p:txBody>
          <a:bodyPr/>
          <a:lstStyle/>
          <a:p>
            <a:r>
              <a:rPr lang="nl-BE" sz="1100" b="1" u="sng">
                <a:solidFill>
                  <a:schemeClr val="accent6"/>
                </a:solidFill>
                <a:latin typeface="Proximus Bold" panose="00000500000000000000" pitchFamily="2" charset="0"/>
              </a:rPr>
              <a:t>ROBIN ON STAGE</a:t>
            </a:r>
          </a:p>
          <a:p>
            <a:r>
              <a:rPr lang="nl-BE" sz="1100" b="1" u="sng">
                <a:solidFill>
                  <a:schemeClr val="accent6"/>
                </a:solidFill>
                <a:latin typeface="Proximus Bold" panose="00000500000000000000" pitchFamily="2" charset="0"/>
              </a:rPr>
              <a:t>GEERT [FR]</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Pour relever ces défis, nous nous sommes préparés et avons développé notre stratégie </a:t>
            </a:r>
            <a:r>
              <a:rPr lang="fr-BE" sz="1100" b="1" i="0">
                <a:solidFill>
                  <a:schemeClr val="accent6"/>
                </a:solidFill>
                <a:effectLst/>
                <a:latin typeface="Proximus Bold" panose="00000500000000000000" pitchFamily="2" charset="0"/>
              </a:rPr>
              <a:t>NBU 4.0</a:t>
            </a:r>
            <a:r>
              <a:rPr lang="fr-BE" sz="1100" b="0" i="0">
                <a:solidFill>
                  <a:schemeClr val="accent6"/>
                </a:solidFill>
                <a:effectLst/>
                <a:latin typeface="Proximus" panose="00000500000000000000" pitchFamily="2" charset="0"/>
              </a:rPr>
              <a:t>, qui est le cadre nous permettant de préparer l'avenir. C'est notre vision à long terme. </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En fait, nous voulons </a:t>
            </a:r>
            <a:r>
              <a:rPr lang="fr-BE" sz="1100" b="1" i="0">
                <a:solidFill>
                  <a:schemeClr val="accent6"/>
                </a:solidFill>
                <a:effectLst/>
                <a:latin typeface="Proximus Bold" panose="00000500000000000000" pitchFamily="2" charset="0"/>
              </a:rPr>
              <a:t>faire la même chose </a:t>
            </a:r>
            <a:r>
              <a:rPr lang="fr-BE" sz="1100" b="0" i="0">
                <a:solidFill>
                  <a:schemeClr val="accent6"/>
                </a:solidFill>
                <a:effectLst/>
                <a:latin typeface="Proximus" panose="00000500000000000000" pitchFamily="2" charset="0"/>
              </a:rPr>
              <a:t>que nous avons toujours faite : nous voulons offrir la meilleure expérience aux clients, nous voulons être les meilleurs en efficacité, nous voulons être à près pour le futur, et nous voulons tirer le meilleur de nos collaborateurs. Cependant, nous voulons le faire différemment.</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Le </a:t>
            </a:r>
            <a:r>
              <a:rPr lang="fr-BE" sz="1100" b="1" i="0">
                <a:solidFill>
                  <a:schemeClr val="accent6"/>
                </a:solidFill>
                <a:effectLst/>
                <a:latin typeface="Proximus Bold" panose="00000500000000000000" pitchFamily="2" charset="0"/>
              </a:rPr>
              <a:t>contexte autour de nous change radicalement</a:t>
            </a:r>
            <a:r>
              <a:rPr lang="fr-BE" sz="1100" b="0" i="0">
                <a:solidFill>
                  <a:schemeClr val="accent6"/>
                </a:solidFill>
                <a:effectLst/>
                <a:latin typeface="Proximus" panose="00000500000000000000" pitchFamily="2" charset="0"/>
              </a:rPr>
              <a:t>, nous poussant à trouver des moyens alternatifs pour atteindre nos objectifs, mais en fin de compte, les objectifs ne changent pas. </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Ainsi, </a:t>
            </a:r>
            <a:r>
              <a:rPr lang="fr-BE" sz="1100" b="1" i="0">
                <a:solidFill>
                  <a:schemeClr val="accent6"/>
                </a:solidFill>
                <a:effectLst/>
                <a:latin typeface="Proximus Bold" panose="00000500000000000000" pitchFamily="2" charset="0"/>
              </a:rPr>
              <a:t>nous voulons faire la même chose, mais de manière très différente</a:t>
            </a:r>
            <a:endParaRPr lang="nl-BE" sz="1100" b="1">
              <a:solidFill>
                <a:schemeClr val="accent6"/>
              </a:solidFill>
              <a:latin typeface="Proximus Bold" panose="00000500000000000000" pitchFamily="2" charset="0"/>
            </a:endParaRPr>
          </a:p>
        </p:txBody>
      </p:sp>
      <p:sp>
        <p:nvSpPr>
          <p:cNvPr id="4" name="Slide Number Placeholder 3">
            <a:extLst>
              <a:ext uri="{FF2B5EF4-FFF2-40B4-BE49-F238E27FC236}">
                <a16:creationId xmlns:a16="http://schemas.microsoft.com/office/drawing/2014/main" id="{4EF61346-FE6E-4386-654F-A5CCA15EECAA}"/>
              </a:ext>
            </a:extLst>
          </p:cNvPr>
          <p:cNvSpPr>
            <a:spLocks noGrp="1"/>
          </p:cNvSpPr>
          <p:nvPr>
            <p:ph type="sldNum" sz="quarter" idx="5"/>
          </p:nvPr>
        </p:nvSpPr>
        <p:spPr/>
        <p:txBody>
          <a:bodyPr/>
          <a:lstStyle/>
          <a:p>
            <a:fld id="{FA918F22-1231-AB43-96E7-2B8B890DCD5E}" type="slidenum">
              <a:rPr lang="en-US" smtClean="0"/>
              <a:pPr/>
              <a:t>10</a:t>
            </a:fld>
            <a:endParaRPr lang="en-US"/>
          </a:p>
        </p:txBody>
      </p:sp>
    </p:spTree>
    <p:extLst>
      <p:ext uri="{BB962C8B-B14F-4D97-AF65-F5344CB8AC3E}">
        <p14:creationId xmlns:p14="http://schemas.microsoft.com/office/powerpoint/2010/main" val="1354366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A4244-D07F-AE48-FAE8-C8DCFF64A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AA262B-5831-9EE7-39E4-BB0924D7F5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899A9-BDE6-7590-F4EF-72E7A1C7C105}"/>
              </a:ext>
            </a:extLst>
          </p:cNvPr>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ROBIN ON STAGE</a:t>
            </a:r>
          </a:p>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GEERT [NL)</a:t>
            </a:r>
          </a:p>
          <a:p>
            <a:pPr>
              <a:lnSpc>
                <a:spcPct val="107000"/>
              </a:lnSpc>
              <a:spcAft>
                <a:spcPts val="800"/>
              </a:spcAft>
            </a:pPr>
            <a:r>
              <a:rPr lang="nl-BE" sz="1100">
                <a:solidFill>
                  <a:schemeClr val="accent6"/>
                </a:solidFill>
                <a:latin typeface="Proximus Bold"/>
              </a:rPr>
              <a:t>- En deze zin vat alles goed samen, we willen echt excelleren in het opleveren van onze ambities, en dit in het midden van verscheidene interne en externe </a:t>
            </a:r>
            <a:r>
              <a:rPr lang="nl-BE" sz="1100" err="1">
                <a:solidFill>
                  <a:schemeClr val="accent6"/>
                </a:solidFill>
                <a:latin typeface="Proximus Bold"/>
              </a:rPr>
              <a:t>disrupties</a:t>
            </a:r>
            <a:r>
              <a:rPr lang="nl-BE" sz="1100">
                <a:solidFill>
                  <a:schemeClr val="accent6"/>
                </a:solidFill>
                <a:latin typeface="Proximus Bold"/>
              </a:rPr>
              <a:t>.</a:t>
            </a:r>
          </a:p>
          <a:p>
            <a:pPr marL="171450" indent="-171450">
              <a:lnSpc>
                <a:spcPct val="107000"/>
              </a:lnSpc>
              <a:spcAft>
                <a:spcPts val="800"/>
              </a:spcAft>
              <a:buFontTx/>
              <a:buChar char="-"/>
            </a:pPr>
            <a:r>
              <a:rPr lang="nl-BE" sz="1100">
                <a:solidFill>
                  <a:schemeClr val="accent6"/>
                </a:solidFill>
                <a:latin typeface="Proximus Bold"/>
              </a:rPr>
              <a:t>Ons doel blijft gelijk, dat verandert niet, we moeten nog steeds hetzelfde </a:t>
            </a:r>
            <a:r>
              <a:rPr lang="nl-BE" sz="1100" err="1">
                <a:solidFill>
                  <a:schemeClr val="accent6"/>
                </a:solidFill>
                <a:latin typeface="Proximus Bold"/>
              </a:rPr>
              <a:t>berijken</a:t>
            </a:r>
            <a:r>
              <a:rPr lang="nl-BE" sz="1100">
                <a:solidFill>
                  <a:schemeClr val="accent6"/>
                </a:solidFill>
                <a:latin typeface="Proximus Bold"/>
              </a:rPr>
              <a:t>, maar we moeten het doen binnen een nieuwe disruptieve context.</a:t>
            </a:r>
          </a:p>
          <a:p>
            <a:pPr marL="171450" indent="-171450">
              <a:lnSpc>
                <a:spcPct val="107000"/>
              </a:lnSpc>
              <a:spcAft>
                <a:spcPts val="800"/>
              </a:spcAft>
              <a:buFontTx/>
              <a:buChar char="-"/>
            </a:pPr>
            <a:r>
              <a:rPr lang="nl-BE" sz="1100">
                <a:solidFill>
                  <a:schemeClr val="accent6"/>
                </a:solidFill>
                <a:latin typeface="Proximus Bold"/>
              </a:rPr>
              <a:t>Vandaar ook dat het gezegd “</a:t>
            </a:r>
            <a:r>
              <a:rPr lang="nl-BE" sz="1100" err="1">
                <a:solidFill>
                  <a:schemeClr val="accent6"/>
                </a:solidFill>
                <a:latin typeface="Proximus Bold"/>
              </a:rPr>
              <a:t>doing</a:t>
            </a:r>
            <a:r>
              <a:rPr lang="nl-BE" sz="1100">
                <a:solidFill>
                  <a:schemeClr val="accent6"/>
                </a:solidFill>
                <a:latin typeface="Proximus Bold"/>
              </a:rPr>
              <a:t> </a:t>
            </a:r>
            <a:r>
              <a:rPr lang="nl-BE" sz="1100" err="1">
                <a:solidFill>
                  <a:schemeClr val="accent6"/>
                </a:solidFill>
                <a:latin typeface="Proximus Bold"/>
              </a:rPr>
              <a:t>the</a:t>
            </a:r>
            <a:r>
              <a:rPr lang="nl-BE" sz="1100">
                <a:solidFill>
                  <a:schemeClr val="accent6"/>
                </a:solidFill>
                <a:latin typeface="Proximus Bold"/>
              </a:rPr>
              <a:t> </a:t>
            </a:r>
            <a:r>
              <a:rPr lang="nl-BE" sz="1100" err="1">
                <a:solidFill>
                  <a:schemeClr val="accent6"/>
                </a:solidFill>
                <a:latin typeface="Proximus Bold"/>
              </a:rPr>
              <a:t>same</a:t>
            </a:r>
            <a:r>
              <a:rPr lang="nl-BE" sz="1100">
                <a:solidFill>
                  <a:schemeClr val="accent6"/>
                </a:solidFill>
                <a:latin typeface="Proximus Bold"/>
              </a:rPr>
              <a:t> </a:t>
            </a:r>
            <a:r>
              <a:rPr lang="nl-BE" sz="1100" err="1">
                <a:solidFill>
                  <a:schemeClr val="accent6"/>
                </a:solidFill>
                <a:latin typeface="Proximus Bold"/>
              </a:rPr>
              <a:t>very</a:t>
            </a:r>
            <a:r>
              <a:rPr lang="nl-BE" sz="1100">
                <a:solidFill>
                  <a:schemeClr val="accent6"/>
                </a:solidFill>
                <a:latin typeface="Proximus Bold"/>
              </a:rPr>
              <a:t> </a:t>
            </a:r>
            <a:r>
              <a:rPr lang="nl-BE" sz="1100" err="1">
                <a:solidFill>
                  <a:schemeClr val="accent6"/>
                </a:solidFill>
                <a:latin typeface="Proximus Bold"/>
              </a:rPr>
              <a:t>differently</a:t>
            </a:r>
            <a:r>
              <a:rPr lang="nl-BE" sz="1100">
                <a:solidFill>
                  <a:schemeClr val="accent6"/>
                </a:solidFill>
                <a:latin typeface="Proximus Bold"/>
              </a:rPr>
              <a:t>”. We doel is hetzelfde, de manier waarop anders.</a:t>
            </a:r>
          </a:p>
          <a:p>
            <a:pPr marL="171450" indent="-171450">
              <a:lnSpc>
                <a:spcPct val="107000"/>
              </a:lnSpc>
              <a:spcAft>
                <a:spcPts val="800"/>
              </a:spcAft>
              <a:buFontTx/>
              <a:buChar char="-"/>
            </a:pPr>
            <a:r>
              <a:rPr lang="nl-BE" sz="1100">
                <a:solidFill>
                  <a:schemeClr val="accent6"/>
                </a:solidFill>
                <a:latin typeface="Proximus Bold"/>
              </a:rPr>
              <a:t>En om dit tot een goed einde te brengen zal het zeer belangrijk zijn om team cohesie te gaan </a:t>
            </a:r>
            <a:r>
              <a:rPr lang="nl-BE" sz="1100" err="1">
                <a:solidFill>
                  <a:schemeClr val="accent6"/>
                </a:solidFill>
                <a:latin typeface="Proximus Bold"/>
              </a:rPr>
              <a:t>creeeren</a:t>
            </a:r>
            <a:r>
              <a:rPr lang="nl-BE" sz="1100">
                <a:solidFill>
                  <a:schemeClr val="accent6"/>
                </a:solidFill>
                <a:latin typeface="Proximus Bold"/>
              </a:rPr>
              <a:t> en ervoor te gaan zorgen dat wij allemaal samenwerken als EEN team.</a:t>
            </a:r>
          </a:p>
        </p:txBody>
      </p:sp>
      <p:sp>
        <p:nvSpPr>
          <p:cNvPr id="4" name="Slide Number Placeholder 3">
            <a:extLst>
              <a:ext uri="{FF2B5EF4-FFF2-40B4-BE49-F238E27FC236}">
                <a16:creationId xmlns:a16="http://schemas.microsoft.com/office/drawing/2014/main" id="{04835331-DA02-9160-2E7F-EECD8D3F0EC8}"/>
              </a:ext>
            </a:extLst>
          </p:cNvPr>
          <p:cNvSpPr>
            <a:spLocks noGrp="1"/>
          </p:cNvSpPr>
          <p:nvPr>
            <p:ph type="sldNum" sz="quarter" idx="5"/>
          </p:nvPr>
        </p:nvSpPr>
        <p:spPr/>
        <p:txBody>
          <a:bodyPr/>
          <a:lstStyle/>
          <a:p>
            <a:fld id="{FA918F22-1231-AB43-96E7-2B8B890DCD5E}" type="slidenum">
              <a:rPr lang="en-US" smtClean="0"/>
              <a:pPr/>
              <a:t>11</a:t>
            </a:fld>
            <a:endParaRPr lang="en-US"/>
          </a:p>
        </p:txBody>
      </p:sp>
    </p:spTree>
    <p:extLst>
      <p:ext uri="{BB962C8B-B14F-4D97-AF65-F5344CB8AC3E}">
        <p14:creationId xmlns:p14="http://schemas.microsoft.com/office/powerpoint/2010/main" val="1492108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ROBIN ON STAGE</a:t>
            </a:r>
          </a:p>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GEERT [NL)</a:t>
            </a:r>
          </a:p>
          <a:p>
            <a:pPr>
              <a:lnSpc>
                <a:spcPct val="107000"/>
              </a:lnSpc>
              <a:spcAft>
                <a:spcPts val="800"/>
              </a:spcAft>
            </a:pP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E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i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je de vier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pilla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bold op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ewelk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onz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NBU 4.0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strateg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ebouwd</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is.</a:t>
            </a:r>
          </a:p>
          <a:p>
            <a:pPr>
              <a:lnSpc>
                <a:spcPct val="107000"/>
              </a:lnSpc>
              <a:spcAft>
                <a:spcPts val="800"/>
              </a:spcAft>
            </a:pP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j</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al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NBU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bold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j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in elk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ez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ier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pilla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a:t>
            </a:r>
          </a:p>
          <a:p>
            <a:pPr>
              <a:lnSpc>
                <a:spcPct val="107000"/>
              </a:lnSpc>
              <a:spcAft>
                <a:spcPts val="800"/>
              </a:spcAft>
            </a:pP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focuss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p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etwerk-ervaring</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p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fficient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l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j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oor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oekoms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i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alle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a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o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door i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ied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on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he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ov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a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ebb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l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mens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el</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a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limaa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creee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aari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he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ied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jull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ov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om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m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i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champions league team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og</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iveau</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og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a:t>
            </a:r>
          </a:p>
        </p:txBody>
      </p:sp>
      <p:sp>
        <p:nvSpPr>
          <p:cNvPr id="4" name="Slide Number Placeholder 3"/>
          <p:cNvSpPr>
            <a:spLocks noGrp="1"/>
          </p:cNvSpPr>
          <p:nvPr>
            <p:ph type="sldNum" sz="quarter" idx="5"/>
          </p:nvPr>
        </p:nvSpPr>
        <p:spPr/>
        <p:txBody>
          <a:bodyPr/>
          <a:lstStyle/>
          <a:p>
            <a:fld id="{FA918F22-1231-AB43-96E7-2B8B890DCD5E}" type="slidenum">
              <a:rPr lang="en-US" smtClean="0"/>
              <a:pPr/>
              <a:t>12</a:t>
            </a:fld>
            <a:endParaRPr lang="en-US"/>
          </a:p>
        </p:txBody>
      </p:sp>
    </p:spTree>
    <p:extLst>
      <p:ext uri="{BB962C8B-B14F-4D97-AF65-F5344CB8AC3E}">
        <p14:creationId xmlns:p14="http://schemas.microsoft.com/office/powerpoint/2010/main" val="4012864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chemeClr val="accent6"/>
                </a:solidFill>
                <a:effectLst/>
                <a:latin typeface="Proximus Light" pitchFamily="2" charset="77"/>
                <a:ea typeface="Aptos" panose="020B0004020202020204" pitchFamily="34" charset="0"/>
                <a:cs typeface="Arial" panose="020B0604020202020204" pitchFamily="34" charset="0"/>
              </a:rPr>
              <a:t>ROBIN </a:t>
            </a:r>
            <a:r>
              <a:rPr lang="en-US" sz="1100" u="sng" kern="100" dirty="0">
                <a:solidFill>
                  <a:schemeClr val="accent6"/>
                </a:solidFill>
                <a:effectLst/>
                <a:latin typeface="Proximus Light" pitchFamily="2" charset="77"/>
                <a:ea typeface="Aptos" panose="020B0004020202020204" pitchFamily="34" charset="0"/>
                <a:cs typeface="Arial" panose="020B0604020202020204" pitchFamily="34" charset="0"/>
              </a:rPr>
              <a:t>on stage </a:t>
            </a:r>
          </a:p>
          <a:p>
            <a:endParaRPr lang="en-US" sz="1100" dirty="0">
              <a:solidFill>
                <a:schemeClr val="accent6"/>
              </a:solidFill>
            </a:endParaRPr>
          </a:p>
          <a:p>
            <a:r>
              <a:rPr lang="en-US" sz="1100" b="1" u="sng" dirty="0">
                <a:solidFill>
                  <a:schemeClr val="accent6"/>
                </a:solidFill>
              </a:rPr>
              <a:t>ROBIN</a:t>
            </a:r>
            <a:r>
              <a:rPr lang="en-US" sz="1100" dirty="0">
                <a:solidFill>
                  <a:schemeClr val="accent6"/>
                </a:solidFill>
              </a:rPr>
              <a:t> : </a:t>
            </a:r>
            <a:r>
              <a:rPr lang="nl-NL" sz="1100" b="0" i="0" dirty="0">
                <a:solidFill>
                  <a:schemeClr val="accent6"/>
                </a:solidFill>
                <a:effectLst/>
                <a:latin typeface="Segoe UI" panose="020B0502040204020203" pitchFamily="34" charset="0"/>
              </a:rPr>
              <a:t>Hartelijk dank Geert voor deze introductie en eerste vooruitblik. Tijd om wat dieper in te gaan op elk van de pijlers van NBU 4.0. Laten we beginnen met de eerste pijler '</a:t>
            </a:r>
            <a:r>
              <a:rPr lang="nl-NL" sz="1100" b="0" i="0" dirty="0" err="1">
                <a:solidFill>
                  <a:schemeClr val="accent6"/>
                </a:solidFill>
                <a:effectLst/>
                <a:latin typeface="Segoe UI" panose="020B0502040204020203" pitchFamily="34" charset="0"/>
              </a:rPr>
              <a:t>Bold</a:t>
            </a:r>
            <a:r>
              <a:rPr lang="nl-NL" sz="1100" b="0" i="0" dirty="0">
                <a:solidFill>
                  <a:schemeClr val="accent6"/>
                </a:solidFill>
                <a:effectLst/>
                <a:latin typeface="Segoe UI" panose="020B0502040204020203" pitchFamily="34" charset="0"/>
              </a:rPr>
              <a:t> </a:t>
            </a:r>
            <a:r>
              <a:rPr lang="nl-NL" sz="1100" b="0" i="0" dirty="0" err="1">
                <a:solidFill>
                  <a:schemeClr val="accent6"/>
                </a:solidFill>
                <a:effectLst/>
                <a:latin typeface="Segoe UI" panose="020B0502040204020203" pitchFamily="34" charset="0"/>
              </a:rPr>
              <a:t>Experiences</a:t>
            </a:r>
            <a:r>
              <a:rPr lang="nl-NL" sz="1100" b="0" i="0" dirty="0">
                <a:solidFill>
                  <a:schemeClr val="accent6"/>
                </a:solidFill>
                <a:effectLst/>
                <a:latin typeface="Segoe UI" panose="020B0502040204020203" pitchFamily="34" charset="0"/>
              </a:rPr>
              <a:t>’, hiervoor nodig ik Gaetan (Fiber Program Division Lead), Vincent (Network </a:t>
            </a:r>
            <a:r>
              <a:rPr lang="nl-NL" sz="1100" b="0" i="0" dirty="0" err="1">
                <a:solidFill>
                  <a:schemeClr val="accent6"/>
                </a:solidFill>
                <a:effectLst/>
                <a:latin typeface="Segoe UI" panose="020B0502040204020203" pitchFamily="34" charset="0"/>
              </a:rPr>
              <a:t>Strategy</a:t>
            </a:r>
            <a:r>
              <a:rPr lang="nl-NL" sz="1100" b="0" i="0" dirty="0">
                <a:solidFill>
                  <a:schemeClr val="accent6"/>
                </a:solidFill>
                <a:effectLst/>
                <a:latin typeface="Segoe UI" panose="020B0502040204020203" pitchFamily="34" charset="0"/>
              </a:rPr>
              <a:t>, </a:t>
            </a:r>
            <a:r>
              <a:rPr lang="nl-NL" sz="1100" b="0" i="0" dirty="0" err="1">
                <a:solidFill>
                  <a:schemeClr val="accent6"/>
                </a:solidFill>
                <a:effectLst/>
                <a:latin typeface="Segoe UI" panose="020B0502040204020203" pitchFamily="34" charset="0"/>
              </a:rPr>
              <a:t>Innovation</a:t>
            </a:r>
            <a:r>
              <a:rPr lang="nl-NL" sz="1100" b="0" i="0" dirty="0">
                <a:solidFill>
                  <a:schemeClr val="accent6"/>
                </a:solidFill>
                <a:effectLst/>
                <a:latin typeface="Segoe UI" panose="020B0502040204020203" pitchFamily="34" charset="0"/>
              </a:rPr>
              <a:t> &amp; Partnership Division Lead) en Bernard (Network IT </a:t>
            </a:r>
            <a:r>
              <a:rPr lang="nl-NL" sz="1100" b="0" i="0" dirty="0" err="1">
                <a:solidFill>
                  <a:schemeClr val="accent6"/>
                </a:solidFill>
                <a:effectLst/>
                <a:latin typeface="Segoe UI" panose="020B0502040204020203" pitchFamily="34" charset="0"/>
              </a:rPr>
              <a:t>Tribe</a:t>
            </a:r>
            <a:r>
              <a:rPr lang="nl-NL" sz="1100" b="0" i="0" dirty="0">
                <a:solidFill>
                  <a:schemeClr val="accent6"/>
                </a:solidFill>
                <a:effectLst/>
                <a:latin typeface="Segoe UI" panose="020B0502040204020203" pitchFamily="34" charset="0"/>
              </a:rPr>
              <a:t> &amp; </a:t>
            </a:r>
            <a:r>
              <a:rPr lang="nl-NL" sz="1100" b="0" i="0" dirty="0" err="1">
                <a:solidFill>
                  <a:schemeClr val="accent6"/>
                </a:solidFill>
                <a:effectLst/>
                <a:latin typeface="Segoe UI" panose="020B0502040204020203" pitchFamily="34" charset="0"/>
              </a:rPr>
              <a:t>Chapter</a:t>
            </a:r>
            <a:r>
              <a:rPr lang="nl-NL" sz="1100" b="0" i="0" dirty="0">
                <a:solidFill>
                  <a:schemeClr val="accent6"/>
                </a:solidFill>
                <a:effectLst/>
                <a:latin typeface="Segoe UI" panose="020B0502040204020203" pitchFamily="34" charset="0"/>
              </a:rPr>
              <a:t> Area Lead) uit op het podium</a:t>
            </a:r>
          </a:p>
          <a:p>
            <a:endPar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endParaRPr>
          </a:p>
          <a:p>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Geert </a:t>
            </a:r>
            <a:r>
              <a:rPr lang="nl-NL" sz="1100" b="0" i="0" kern="100" dirty="0" err="1">
                <a:solidFill>
                  <a:schemeClr val="accent6"/>
                </a:solidFill>
                <a:effectLst/>
                <a:latin typeface="Segoe UI" panose="020B0502040204020203" pitchFamily="34" charset="0"/>
                <a:ea typeface="Aptos" panose="020B0004020202020204" pitchFamily="34" charset="0"/>
                <a:cs typeface="Arial" panose="020B0604020202020204" pitchFamily="34" charset="0"/>
              </a:rPr>
              <a:t>leaves</a:t>
            </a:r>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 </a:t>
            </a:r>
            <a:r>
              <a:rPr lang="nl-NL" sz="1100" b="0" i="0" kern="100" dirty="0" err="1">
                <a:solidFill>
                  <a:schemeClr val="accent6"/>
                </a:solidFill>
                <a:effectLst/>
                <a:latin typeface="Segoe UI" panose="020B0502040204020203" pitchFamily="34" charset="0"/>
                <a:ea typeface="Aptos" panose="020B0004020202020204" pitchFamily="34" charset="0"/>
                <a:cs typeface="Arial" panose="020B0604020202020204" pitchFamily="34" charset="0"/>
              </a:rPr>
              <a:t>the</a:t>
            </a:r>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 stage)</a:t>
            </a:r>
            <a:endParaRPr lang="fr-BE" sz="1100" b="0" kern="100" dirty="0">
              <a:solidFill>
                <a:schemeClr val="accent6"/>
              </a:solidFill>
              <a:effectLst/>
              <a:latin typeface="Proximus Light" pitchFamily="2" charset="77"/>
              <a:ea typeface="Aptos" panose="020B0004020202020204" pitchFamily="34" charset="0"/>
              <a:cs typeface="Arial" panose="020B0604020202020204" pitchFamily="34" charset="0"/>
            </a:endParaRPr>
          </a:p>
          <a:p>
            <a:endParaRPr lang="fr-BE" dirty="0">
              <a:solidFill>
                <a:schemeClr val="accent6"/>
              </a:solidFill>
            </a:endParaRPr>
          </a:p>
          <a:p>
            <a:endParaRPr lang="en-BE" dirty="0">
              <a:solidFill>
                <a:schemeClr val="accent6"/>
              </a:solidFill>
            </a:endParaRPr>
          </a:p>
          <a:p>
            <a:endParaRPr lang="en-BE"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3</a:t>
            </a:fld>
            <a:endParaRPr lang="en-US"/>
          </a:p>
        </p:txBody>
      </p:sp>
    </p:spTree>
    <p:extLst>
      <p:ext uri="{BB962C8B-B14F-4D97-AF65-F5344CB8AC3E}">
        <p14:creationId xmlns:p14="http://schemas.microsoft.com/office/powerpoint/2010/main" val="1179970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pitchFamily="2" charset="77"/>
                <a:ea typeface="Aptos" panose="020B0004020202020204" pitchFamily="34" charset="0"/>
                <a:cs typeface="Arial" panose="020B0604020202020204" pitchFamily="34" charset="0"/>
              </a:rPr>
              <a:t>ROBIN </a:t>
            </a:r>
            <a:r>
              <a:rPr lang="en-US" sz="1100" u="sng" kern="10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en-US" sz="1100" b="1"/>
          </a:p>
          <a:p>
            <a:r>
              <a:rPr lang="en-US" sz="1100" b="1" u="sng"/>
              <a:t>ROBIN</a:t>
            </a:r>
            <a:r>
              <a:rPr lang="en-US" sz="1100" b="1"/>
              <a:t> : </a:t>
            </a:r>
            <a:r>
              <a:rPr lang="fr-BE" sz="1100" b="0" i="0">
                <a:solidFill>
                  <a:srgbClr val="242424"/>
                </a:solidFill>
                <a:effectLst/>
                <a:latin typeface="Segoe UI" panose="020B0502040204020203" pitchFamily="34" charset="0"/>
              </a:rPr>
              <a:t>De </a:t>
            </a:r>
            <a:r>
              <a:rPr lang="fr-BE" sz="1100" b="0" i="0" err="1">
                <a:solidFill>
                  <a:srgbClr val="242424"/>
                </a:solidFill>
                <a:effectLst/>
                <a:latin typeface="Segoe UI" panose="020B0502040204020203" pitchFamily="34" charset="0"/>
              </a:rPr>
              <a:t>pijler</a:t>
            </a:r>
            <a:r>
              <a:rPr lang="fr-BE" sz="1100" b="0" i="0">
                <a:solidFill>
                  <a:srgbClr val="242424"/>
                </a:solidFill>
                <a:effectLst/>
                <a:latin typeface="Segoe UI" panose="020B0502040204020203" pitchFamily="34" charset="0"/>
              </a:rPr>
              <a:t> Bold expériences </a:t>
            </a:r>
            <a:r>
              <a:rPr lang="fr-BE" sz="1100" b="0" i="0" err="1">
                <a:solidFill>
                  <a:srgbClr val="242424"/>
                </a:solidFill>
                <a:effectLst/>
                <a:latin typeface="Segoe UI" panose="020B0502040204020203" pitchFamily="34" charset="0"/>
              </a:rPr>
              <a:t>valt</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uiteen</a:t>
            </a:r>
            <a:r>
              <a:rPr lang="fr-BE" sz="1100" b="0" i="0">
                <a:solidFill>
                  <a:srgbClr val="242424"/>
                </a:solidFill>
                <a:effectLst/>
                <a:latin typeface="Segoe UI" panose="020B0502040204020203" pitchFamily="34" charset="0"/>
              </a:rPr>
              <a:t> in </a:t>
            </a:r>
            <a:r>
              <a:rPr lang="fr-BE" sz="1100" b="0" i="0" err="1">
                <a:solidFill>
                  <a:srgbClr val="242424"/>
                </a:solidFill>
                <a:effectLst/>
                <a:latin typeface="Segoe UI" panose="020B0502040204020203" pitchFamily="34" charset="0"/>
              </a:rPr>
              <a:t>dri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grot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blokken</a:t>
            </a:r>
            <a:r>
              <a:rPr lang="fr-BE" sz="1100" b="0" i="0">
                <a:solidFill>
                  <a:srgbClr val="242424"/>
                </a:solidFill>
                <a:effectLst/>
                <a:latin typeface="Segoe UI" panose="020B0502040204020203" pitchFamily="34" charset="0"/>
              </a:rPr>
              <a:t>. Gaetan en Jo </a:t>
            </a:r>
            <a:r>
              <a:rPr lang="fr-BE" sz="1100" b="0" i="0" err="1">
                <a:solidFill>
                  <a:srgbClr val="242424"/>
                </a:solidFill>
                <a:effectLst/>
                <a:latin typeface="Segoe UI" panose="020B0502040204020203" pitchFamily="34" charset="0"/>
              </a:rPr>
              <a:t>zullen</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ons</a:t>
            </a:r>
            <a:r>
              <a:rPr lang="fr-BE" sz="1100" b="0" i="0">
                <a:solidFill>
                  <a:srgbClr val="242424"/>
                </a:solidFill>
                <a:effectLst/>
                <a:latin typeface="Segoe UI" panose="020B0502040204020203" pitchFamily="34" charset="0"/>
              </a:rPr>
              <a:t> Gigabit for all </a:t>
            </a:r>
            <a:r>
              <a:rPr lang="fr-BE" sz="1100" b="0" i="0" err="1">
                <a:solidFill>
                  <a:srgbClr val="242424"/>
                </a:solidFill>
                <a:effectLst/>
                <a:latin typeface="Segoe UI" panose="020B0502040204020203" pitchFamily="34" charset="0"/>
              </a:rPr>
              <a:t>presenteren</a:t>
            </a:r>
            <a:r>
              <a:rPr lang="fr-BE" sz="1100" b="0" i="0">
                <a:solidFill>
                  <a:srgbClr val="242424"/>
                </a:solidFill>
                <a:effectLst/>
                <a:latin typeface="Segoe UI" panose="020B0502040204020203" pitchFamily="34" charset="0"/>
              </a:rPr>
              <a:t>, Vincent </a:t>
            </a:r>
            <a:r>
              <a:rPr lang="fr-BE" sz="1100" b="0" i="0" err="1">
                <a:solidFill>
                  <a:srgbClr val="242424"/>
                </a:solidFill>
                <a:effectLst/>
                <a:latin typeface="Segoe UI" panose="020B0502040204020203" pitchFamily="34" charset="0"/>
              </a:rPr>
              <a:t>zal</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ons</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vertellen</a:t>
            </a:r>
            <a:r>
              <a:rPr lang="fr-BE" sz="1100" b="0" i="0">
                <a:solidFill>
                  <a:srgbClr val="242424"/>
                </a:solidFill>
                <a:effectLst/>
                <a:latin typeface="Segoe UI" panose="020B0502040204020203" pitchFamily="34" charset="0"/>
              </a:rPr>
              <a:t> over Mobile Leadership en Bernard </a:t>
            </a:r>
            <a:r>
              <a:rPr lang="fr-BE" sz="1100" b="0" i="0" err="1">
                <a:solidFill>
                  <a:srgbClr val="242424"/>
                </a:solidFill>
                <a:effectLst/>
                <a:latin typeface="Segoe UI" panose="020B0502040204020203" pitchFamily="34" charset="0"/>
              </a:rPr>
              <a:t>zal</a:t>
            </a:r>
            <a:r>
              <a:rPr lang="fr-BE" sz="1100" b="0" i="0">
                <a:solidFill>
                  <a:srgbClr val="242424"/>
                </a:solidFill>
                <a:effectLst/>
                <a:latin typeface="Segoe UI" panose="020B0502040204020203" pitchFamily="34" charset="0"/>
              </a:rPr>
              <a:t> het </a:t>
            </a:r>
            <a:r>
              <a:rPr lang="fr-BE" sz="1100" b="0" i="0" err="1">
                <a:solidFill>
                  <a:srgbClr val="242424"/>
                </a:solidFill>
                <a:effectLst/>
                <a:latin typeface="Segoe UI" panose="020B0502040204020203" pitchFamily="34" charset="0"/>
              </a:rPr>
              <a:t>tenslott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hebben</a:t>
            </a:r>
            <a:r>
              <a:rPr lang="fr-BE" sz="1100" b="0" i="0">
                <a:solidFill>
                  <a:srgbClr val="242424"/>
                </a:solidFill>
                <a:effectLst/>
                <a:latin typeface="Segoe UI" panose="020B0502040204020203" pitchFamily="34" charset="0"/>
              </a:rPr>
              <a:t> Multi Access Experience. </a:t>
            </a:r>
          </a:p>
          <a:p>
            <a:r>
              <a:rPr lang="nl-NL" sz="1100" b="0" i="0">
                <a:solidFill>
                  <a:srgbClr val="242424"/>
                </a:solidFill>
                <a:effectLst/>
                <a:latin typeface="Segoe UI" panose="020B0502040204020203" pitchFamily="34" charset="0"/>
              </a:rPr>
              <a:t>Gaetan &amp; Jo, '</a:t>
            </a:r>
            <a:r>
              <a:rPr lang="nl-NL" sz="1100" b="0" i="0" err="1">
                <a:solidFill>
                  <a:srgbClr val="242424"/>
                </a:solidFill>
                <a:effectLst/>
                <a:latin typeface="Segoe UI" panose="020B0502040204020203" pitchFamily="34" charset="0"/>
              </a:rPr>
              <a:t>Gigabit</a:t>
            </a:r>
            <a:r>
              <a:rPr lang="nl-NL" sz="1100" b="0" i="0">
                <a:solidFill>
                  <a:srgbClr val="242424"/>
                </a:solidFill>
                <a:effectLst/>
                <a:latin typeface="Segoe UI" panose="020B0502040204020203" pitchFamily="34" charset="0"/>
              </a:rPr>
              <a:t> </a:t>
            </a:r>
            <a:r>
              <a:rPr lang="nl-NL" sz="1100" b="0" i="0" err="1">
                <a:solidFill>
                  <a:srgbClr val="242424"/>
                </a:solidFill>
                <a:effectLst/>
                <a:latin typeface="Segoe UI" panose="020B0502040204020203" pitchFamily="34" charset="0"/>
              </a:rPr>
              <a:t>for</a:t>
            </a:r>
            <a:r>
              <a:rPr lang="nl-NL" sz="1100" b="0" i="0">
                <a:solidFill>
                  <a:srgbClr val="242424"/>
                </a:solidFill>
                <a:effectLst/>
                <a:latin typeface="Segoe UI" panose="020B0502040204020203" pitchFamily="34" charset="0"/>
              </a:rPr>
              <a:t> </a:t>
            </a:r>
            <a:r>
              <a:rPr lang="nl-NL" sz="1100" b="0" i="0" err="1">
                <a:solidFill>
                  <a:srgbClr val="242424"/>
                </a:solidFill>
                <a:effectLst/>
                <a:latin typeface="Segoe UI" panose="020B0502040204020203" pitchFamily="34" charset="0"/>
              </a:rPr>
              <a:t>all</a:t>
            </a:r>
            <a:r>
              <a:rPr lang="nl-NL" sz="1100" b="0" i="0">
                <a:solidFill>
                  <a:srgbClr val="242424"/>
                </a:solidFill>
                <a:effectLst/>
                <a:latin typeface="Segoe UI" panose="020B0502040204020203" pitchFamily="34" charset="0"/>
              </a:rPr>
              <a:t>'... wat eigenlijk geen nieuwe prioriteit is... Wat kunnen jullie ons vertellen over dit belangrijke onderwerp?</a:t>
            </a:r>
            <a:endParaRPr lang="nl-NL" sz="1100" b="0" i="0" kern="100">
              <a:solidFill>
                <a:srgbClr val="242424"/>
              </a:solidFill>
              <a:effectLst/>
              <a:latin typeface="Segoe UI" panose="020B0502040204020203" pitchFamily="34" charset="0"/>
              <a:ea typeface="Aptos" panose="020B0004020202020204" pitchFamily="34" charset="0"/>
              <a:cs typeface="Arial" panose="020B0604020202020204" pitchFamily="34" charset="0"/>
            </a:endParaRPr>
          </a:p>
          <a:p>
            <a:endParaRPr lang="en-US" sz="500" b="1" u="sng"/>
          </a:p>
          <a:p>
            <a:endParaRPr lang="en-US" sz="500" b="1" u="sng"/>
          </a:p>
          <a:p>
            <a:endParaRPr lang="en-US" sz="500" b="1" u="sng"/>
          </a:p>
        </p:txBody>
      </p:sp>
      <p:sp>
        <p:nvSpPr>
          <p:cNvPr id="4" name="Slide Number Placeholder 3"/>
          <p:cNvSpPr>
            <a:spLocks noGrp="1"/>
          </p:cNvSpPr>
          <p:nvPr>
            <p:ph type="sldNum" sz="quarter" idx="5"/>
          </p:nvPr>
        </p:nvSpPr>
        <p:spPr/>
        <p:txBody>
          <a:bodyPr/>
          <a:lstStyle/>
          <a:p>
            <a:fld id="{FA918F22-1231-AB43-96E7-2B8B890DCD5E}" type="slidenum">
              <a:rPr lang="en-US" smtClean="0"/>
              <a:pPr/>
              <a:t>14</a:t>
            </a:fld>
            <a:endParaRPr lang="en-US"/>
          </a:p>
        </p:txBody>
      </p:sp>
    </p:spTree>
    <p:extLst>
      <p:ext uri="{BB962C8B-B14F-4D97-AF65-F5344CB8AC3E}">
        <p14:creationId xmlns:p14="http://schemas.microsoft.com/office/powerpoint/2010/main" val="3491536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kern="100">
                <a:effectLst/>
                <a:latin typeface="Proximus Light" pitchFamily="2" charset="77"/>
                <a:ea typeface="Aptos" panose="020B0004020202020204" pitchFamily="34" charset="0"/>
                <a:cs typeface="Arial" panose="020B0604020202020204" pitchFamily="34" charset="0"/>
              </a:rPr>
              <a:t>ROBIN OUT OF STAGE</a:t>
            </a:r>
          </a:p>
          <a:p>
            <a:pPr>
              <a:lnSpc>
                <a:spcPct val="107000"/>
              </a:lnSpc>
              <a:spcAft>
                <a:spcPts val="800"/>
              </a:spcAft>
            </a:pPr>
            <a:r>
              <a:rPr lang="en-US" sz="1100" b="1" u="sng" kern="100">
                <a:effectLst/>
                <a:latin typeface="Proximus Light" pitchFamily="2" charset="77"/>
                <a:ea typeface="Aptos" panose="020B0004020202020204" pitchFamily="34" charset="0"/>
                <a:cs typeface="Arial" panose="020B0604020202020204" pitchFamily="34" charset="0"/>
              </a:rPr>
              <a:t>GAETAN &amp; JO</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Consumers and Companies require and deserve Gigabit speeds. Gigabit internet speeds are bridging the digital divide and empowering communities with the connectivity needed for education, business, and innovation in an increasingly digital world.</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Providing gigabit connections to every home in Belgium, within a reasonable timeframe, cannot be realized by a “single” company</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Shared networks optimize resources and reduce infrastructure costs, leading to significant economic savings while minimizing environmental impact through decreased material usage and lessened landscape disruption.</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Win-win partnership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 are essential in network deployment as they bring together the strengths and resources of various stakeholders, fostering innovation, sharing costs and risks, and ultimately delivering superior services that benefit both providers and consumers, while advancing societal progress.</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Negotiations to form these partnerships are taking place as we speak.</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a:spcAft>
                <a:spcPts val="800"/>
              </a:spcAft>
            </a:pPr>
            <a:r>
              <a:rPr lang="fr-BE" sz="1100" kern="100">
                <a:effectLst/>
                <a:latin typeface="Aptos" panose="020B0004020202020204" pitchFamily="34" charset="0"/>
                <a:ea typeface="Aptos" panose="020B0004020202020204" pitchFamily="34" charset="0"/>
                <a:cs typeface="Arial" panose="020B0604020202020204" pitchFamily="34" charset="0"/>
              </a:rPr>
              <a:t> + "</a:t>
            </a:r>
            <a:r>
              <a:rPr lang="fr-BE" sz="1100" kern="100" err="1">
                <a:effectLst/>
                <a:latin typeface="Aptos" panose="020B0004020202020204" pitchFamily="34" charset="0"/>
                <a:ea typeface="Aptos" panose="020B0004020202020204" pitchFamily="34" charset="0"/>
                <a:cs typeface="Arial" panose="020B0604020202020204" pitchFamily="34" charset="0"/>
              </a:rPr>
              <a:t>summing</a:t>
            </a:r>
            <a:r>
              <a:rPr lang="fr-BE" sz="1100" kern="100">
                <a:effectLst/>
                <a:latin typeface="Aptos" panose="020B0004020202020204" pitchFamily="34" charset="0"/>
                <a:ea typeface="Aptos" panose="020B0004020202020204" pitchFamily="34" charset="0"/>
                <a:cs typeface="Arial" panose="020B0604020202020204" pitchFamily="34" charset="0"/>
              </a:rPr>
              <a:t> up </a:t>
            </a:r>
            <a:r>
              <a:rPr lang="fr-BE" sz="1100" kern="100" err="1">
                <a:effectLst/>
                <a:latin typeface="Aptos" panose="020B0004020202020204" pitchFamily="34" charset="0"/>
                <a:ea typeface="Aptos" panose="020B0004020202020204" pitchFamily="34" charset="0"/>
                <a:cs typeface="Arial" panose="020B0604020202020204" pitchFamily="34" charset="0"/>
              </a:rPr>
              <a:t>market</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share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ensuring</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adequate</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filling</a:t>
            </a:r>
            <a:r>
              <a:rPr lang="fr-BE" sz="1100" kern="100">
                <a:effectLst/>
                <a:latin typeface="Aptos" panose="020B0004020202020204" pitchFamily="34" charset="0"/>
                <a:ea typeface="Aptos" panose="020B0004020202020204" pitchFamily="34" charset="0"/>
                <a:cs typeface="Arial" panose="020B0604020202020204" pitchFamily="34" charset="0"/>
              </a:rPr>
              <a:t> rate for profitable networks" (suggestion)    </a:t>
            </a:r>
          </a:p>
          <a:p>
            <a:endParaRPr lang="fr-BE"/>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15</a:t>
            </a:fld>
            <a:endParaRPr lang="en-US"/>
          </a:p>
        </p:txBody>
      </p:sp>
    </p:spTree>
    <p:extLst>
      <p:ext uri="{BB962C8B-B14F-4D97-AF65-F5344CB8AC3E}">
        <p14:creationId xmlns:p14="http://schemas.microsoft.com/office/powerpoint/2010/main" val="3275226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r>
              <a:rPr lang="en-US" sz="1100" b="1" u="sng" kern="100">
                <a:effectLst/>
                <a:latin typeface="Aptos" panose="020B0004020202020204" pitchFamily="34" charset="0"/>
                <a:ea typeface="Aptos" panose="020B0004020202020204" pitchFamily="34" charset="0"/>
                <a:cs typeface="Arial" panose="020B0604020202020204" pitchFamily="34" charset="0"/>
              </a:rPr>
              <a:t>GAETEN &amp; JO</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Win-win partnership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 are essential in network deployment as they bring together the strengths and resources of various stakeholders, fostering innovation, sharing costs and risks, and ultimately delivering superior services that benefit both providers and consumers, while advancing societal progress.</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Negotiations to form these partnerships are taking place as we speak.</a:t>
            </a:r>
            <a:endParaRPr lang="fr-BE" sz="1100" kern="100">
              <a:effectLst/>
              <a:latin typeface="Aptos" panose="020B0004020202020204" pitchFamily="34" charset="0"/>
              <a:ea typeface="Aptos" panose="020B0004020202020204" pitchFamily="34" charset="0"/>
              <a:cs typeface="Arial" panose="020B0604020202020204" pitchFamily="34" charset="0"/>
            </a:endParaRPr>
          </a:p>
          <a:p>
            <a:endParaRPr lang="fr-BE"/>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16</a:t>
            </a:fld>
            <a:endParaRPr lang="en-US"/>
          </a:p>
        </p:txBody>
      </p:sp>
    </p:spTree>
    <p:extLst>
      <p:ext uri="{BB962C8B-B14F-4D97-AF65-F5344CB8AC3E}">
        <p14:creationId xmlns:p14="http://schemas.microsoft.com/office/powerpoint/2010/main" val="2623496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dirty="0"/>
              <a:t>GAETAN</a:t>
            </a:r>
          </a:p>
          <a:p>
            <a:r>
              <a:rPr lang="en-US" sz="1100" b="0" u="none" dirty="0">
                <a:solidFill>
                  <a:schemeClr val="accent6"/>
                </a:solidFill>
              </a:rPr>
              <a:t>(we will look at your answers at the end of next slide)</a:t>
            </a:r>
            <a:endParaRPr lang="en-BE" sz="1100" b="0" u="none"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7</a:t>
            </a:fld>
            <a:endParaRPr lang="en-US"/>
          </a:p>
        </p:txBody>
      </p:sp>
    </p:spTree>
    <p:extLst>
      <p:ext uri="{BB962C8B-B14F-4D97-AF65-F5344CB8AC3E}">
        <p14:creationId xmlns:p14="http://schemas.microsoft.com/office/powerpoint/2010/main" val="430455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611A9-96B3-612A-9481-119EEC6C5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1BD4ED-84EC-2E74-D6AF-5B42FFA2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A9EE09-A689-6D0D-78AC-CBB3B5326CDB}"/>
              </a:ext>
            </a:extLst>
          </p:cNvPr>
          <p:cNvSpPr>
            <a:spLocks noGrp="1"/>
          </p:cNvSpPr>
          <p:nvPr>
            <p:ph type="body" idx="1"/>
          </p:nvPr>
        </p:nvSpPr>
        <p:spPr/>
        <p:txBody>
          <a:bodyPr/>
          <a:lstStyle/>
          <a:p>
            <a:pPr marL="251460" lvl="0" indent="0">
              <a:lnSpc>
                <a:spcPct val="107000"/>
              </a:lnSpc>
              <a:buFont typeface="+mj-lt"/>
              <a:buNone/>
            </a:pPr>
            <a:r>
              <a:rPr lang="en-BE" sz="1100" b="1" dirty="0">
                <a:solidFill>
                  <a:schemeClr val="accent6"/>
                </a:solidFill>
                <a:latin typeface="Proximus Bold"/>
              </a:rPr>
              <a:t>GAETAN</a:t>
            </a:r>
            <a:r>
              <a:rPr lang="en-US" sz="1100" b="1" dirty="0">
                <a:solidFill>
                  <a:schemeClr val="accent6"/>
                </a:solidFill>
                <a:latin typeface="Proximus Bold"/>
              </a:rPr>
              <a:t>/JO</a:t>
            </a:r>
          </a:p>
          <a:p>
            <a:pPr marL="251460" lvl="0" indent="0">
              <a:lnSpc>
                <a:spcPct val="107000"/>
              </a:lnSpc>
              <a:buFont typeface="+mj-lt"/>
              <a:buNone/>
            </a:pPr>
            <a:endParaRPr lang="en-US" sz="1100" b="1" dirty="0">
              <a:solidFill>
                <a:schemeClr val="accent6"/>
              </a:solidFill>
              <a:latin typeface="Proximus Bold"/>
            </a:endParaRPr>
          </a:p>
          <a:p>
            <a:pPr marL="251460" lvl="0" indent="0">
              <a:lnSpc>
                <a:spcPct val="107000"/>
              </a:lnSpc>
              <a:buFont typeface="+mj-lt"/>
              <a:buNone/>
            </a:pPr>
            <a:r>
              <a:rPr lang="en-US" sz="1100" b="0" dirty="0">
                <a:solidFill>
                  <a:schemeClr val="accent6"/>
                </a:solidFill>
                <a:latin typeface="Proximus Bold"/>
              </a:rPr>
              <a:t>+ LOOK at the results of the </a:t>
            </a:r>
            <a:r>
              <a:rPr lang="en-US" sz="1100" b="0" dirty="0" err="1">
                <a:solidFill>
                  <a:schemeClr val="accent6"/>
                </a:solidFill>
                <a:latin typeface="Proximus Bold"/>
              </a:rPr>
              <a:t>Slido</a:t>
            </a:r>
            <a:r>
              <a:rPr lang="en-US" sz="1100" b="0" dirty="0">
                <a:solidFill>
                  <a:schemeClr val="accent6"/>
                </a:solidFill>
                <a:latin typeface="Proximus Bold"/>
              </a:rPr>
              <a:t> question</a:t>
            </a:r>
            <a:endParaRPr lang="en-BE" sz="1100" b="0" dirty="0">
              <a:solidFill>
                <a:schemeClr val="accent6"/>
              </a:solidFill>
            </a:endParaRPr>
          </a:p>
        </p:txBody>
      </p:sp>
      <p:sp>
        <p:nvSpPr>
          <p:cNvPr id="4" name="Slide Number Placeholder 3">
            <a:extLst>
              <a:ext uri="{FF2B5EF4-FFF2-40B4-BE49-F238E27FC236}">
                <a16:creationId xmlns:a16="http://schemas.microsoft.com/office/drawing/2014/main" id="{1C72621B-D84F-FFAF-71B9-CF7C86170E27}"/>
              </a:ext>
            </a:extLst>
          </p:cNvPr>
          <p:cNvSpPr>
            <a:spLocks noGrp="1"/>
          </p:cNvSpPr>
          <p:nvPr>
            <p:ph type="sldNum" sz="quarter" idx="5"/>
          </p:nvPr>
        </p:nvSpPr>
        <p:spPr/>
        <p:txBody>
          <a:bodyPr/>
          <a:lstStyle/>
          <a:p>
            <a:fld id="{FA918F22-1231-AB43-96E7-2B8B890DCD5E}" type="slidenum">
              <a:rPr lang="en-US" smtClean="0"/>
              <a:pPr/>
              <a:t>18</a:t>
            </a:fld>
            <a:endParaRPr lang="en-US"/>
          </a:p>
        </p:txBody>
      </p:sp>
    </p:spTree>
    <p:extLst>
      <p:ext uri="{BB962C8B-B14F-4D97-AF65-F5344CB8AC3E}">
        <p14:creationId xmlns:p14="http://schemas.microsoft.com/office/powerpoint/2010/main" val="2229528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a:t>VINCENT </a:t>
            </a:r>
            <a:r>
              <a:rPr lang="en-US" sz="1100" kern="100">
                <a:effectLst/>
                <a:latin typeface="Aptos" panose="020B0004020202020204" pitchFamily="34" charset="0"/>
                <a:ea typeface="Aptos" panose="020B0004020202020204" pitchFamily="34" charset="0"/>
                <a:cs typeface="Arial" panose="020B0604020202020204" pitchFamily="34" charset="0"/>
              </a:rPr>
              <a:t>Last year I stood here to present our mobile results. We were </a:t>
            </a:r>
            <a:r>
              <a:rPr lang="en-US" sz="1100" b="1" kern="100">
                <a:effectLst/>
                <a:latin typeface="Aptos" panose="020B0004020202020204" pitchFamily="34" charset="0"/>
                <a:ea typeface="Aptos" panose="020B0004020202020204" pitchFamily="34" charset="0"/>
                <a:cs typeface="Arial" panose="020B0604020202020204" pitchFamily="34" charset="0"/>
              </a:rPr>
              <a:t>proud</a:t>
            </a:r>
            <a:r>
              <a:rPr lang="en-US" sz="1100" kern="100">
                <a:effectLst/>
                <a:latin typeface="Aptos" panose="020B0004020202020204" pitchFamily="34" charset="0"/>
                <a:ea typeface="Aptos" panose="020B0004020202020204" pitchFamily="34" charset="0"/>
                <a:cs typeface="Arial" panose="020B0604020202020204" pitchFamily="34" charset="0"/>
              </a:rPr>
              <a:t> to announce we had regained leadership in both speed and coverage on 5G. This year, based on the most recent drive test I can </a:t>
            </a:r>
            <a:r>
              <a:rPr lang="en-US" sz="1100" b="1" kern="100">
                <a:effectLst/>
                <a:latin typeface="Aptos" panose="020B0004020202020204" pitchFamily="34" charset="0"/>
                <a:ea typeface="Aptos" panose="020B0004020202020204" pitchFamily="34" charset="0"/>
                <a:cs typeface="Arial" panose="020B0604020202020204" pitchFamily="34" charset="0"/>
              </a:rPr>
              <a:t>confirm this message for 2024</a:t>
            </a:r>
            <a:r>
              <a:rPr lang="en-US" sz="1100" kern="100">
                <a:effectLst/>
                <a:latin typeface="Aptos" panose="020B0004020202020204" pitchFamily="34" charset="0"/>
                <a:ea typeface="Aptos" panose="020B0004020202020204" pitchFamily="34" charset="0"/>
                <a:cs typeface="Arial" panose="020B0604020202020204" pitchFamily="34" charset="0"/>
              </a:rPr>
              <a:t>.</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We are also </a:t>
            </a:r>
            <a:r>
              <a:rPr lang="en-US" sz="1100" b="1" kern="100">
                <a:effectLst/>
                <a:latin typeface="Aptos" panose="020B0004020202020204" pitchFamily="34" charset="0"/>
                <a:ea typeface="Aptos" panose="020B0004020202020204" pitchFamily="34" charset="0"/>
                <a:cs typeface="Arial" panose="020B0604020202020204" pitchFamily="34" charset="0"/>
              </a:rPr>
              <a:t>thrilled</a:t>
            </a:r>
            <a:r>
              <a:rPr lang="en-US" sz="1100" kern="100">
                <a:effectLst/>
                <a:latin typeface="Aptos" panose="020B0004020202020204" pitchFamily="34" charset="0"/>
                <a:ea typeface="Aptos" panose="020B0004020202020204" pitchFamily="34" charset="0"/>
                <a:cs typeface="Arial" panose="020B0604020202020204" pitchFamily="34" charset="0"/>
              </a:rPr>
              <a:t> this year to see the building blocks of our 5G SA roadmap coming into place and </a:t>
            </a:r>
            <a:r>
              <a:rPr lang="en-US" sz="1100" b="1" kern="100">
                <a:effectLst/>
                <a:latin typeface="Aptos" panose="020B0004020202020204" pitchFamily="34" charset="0"/>
                <a:ea typeface="Aptos" panose="020B0004020202020204" pitchFamily="34" charset="0"/>
                <a:cs typeface="Arial" panose="020B0604020202020204" pitchFamily="34" charset="0"/>
              </a:rPr>
              <a:t>allowing us to foresee commercial launch of a first slice in 2025</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endParaRPr lang="en-US"/>
          </a:p>
          <a:p>
            <a:endParaRPr lang="en-US"/>
          </a:p>
          <a:p>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8104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A46AE-2415-FF90-5E0C-93A81C3E6A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F5A4E9-75A2-6B83-EF0C-D309F2C39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0F2270-D2A8-847E-0C1B-FE9D91E6581A}"/>
              </a:ext>
            </a:extLst>
          </p:cNvPr>
          <p:cNvSpPr>
            <a:spLocks noGrp="1"/>
          </p:cNvSpPr>
          <p:nvPr>
            <p:ph type="body" idx="1"/>
          </p:nvPr>
        </p:nvSpPr>
        <p:spPr/>
        <p:txBody>
          <a:bodyPr/>
          <a:lstStyle/>
          <a:p>
            <a:r>
              <a:rPr lang="en-US" sz="1100" b="1">
                <a:solidFill>
                  <a:schemeClr val="accent6"/>
                </a:solidFill>
                <a:latin typeface="Proximus Bold"/>
              </a:rPr>
              <a:t>MAGALI &amp; ROBIN </a:t>
            </a:r>
            <a:r>
              <a:rPr lang="en-US" sz="1100">
                <a:solidFill>
                  <a:schemeClr val="accent6"/>
                </a:solidFill>
                <a:latin typeface="Proximus Bold"/>
              </a:rPr>
              <a:t>on stage</a:t>
            </a:r>
          </a:p>
          <a:p>
            <a:pPr marL="171450" indent="-171450">
              <a:buFont typeface="Arial" panose="020B0604020202020204" pitchFamily="34" charset="0"/>
              <a:buChar char="•"/>
            </a:pPr>
            <a:r>
              <a:rPr lang="en-US" sz="1100" b="1" u="sng">
                <a:solidFill>
                  <a:schemeClr val="accent6"/>
                </a:solidFill>
                <a:latin typeface="Proximus Bold"/>
              </a:rPr>
              <a:t>MAGALI </a:t>
            </a:r>
            <a:r>
              <a:rPr lang="en-US" sz="1100">
                <a:solidFill>
                  <a:schemeClr val="accent6"/>
                </a:solidFill>
                <a:latin typeface="Proximus Bold"/>
              </a:rPr>
              <a:t>: Bonjour à </a:t>
            </a:r>
            <a:r>
              <a:rPr lang="en-US" sz="1100" err="1">
                <a:solidFill>
                  <a:schemeClr val="accent6"/>
                </a:solidFill>
                <a:latin typeface="Proximus Bold"/>
              </a:rPr>
              <a:t>tous</a:t>
            </a:r>
            <a:r>
              <a:rPr lang="en-US" sz="1100">
                <a:solidFill>
                  <a:schemeClr val="accent6"/>
                </a:solidFill>
                <a:latin typeface="Proximus Bold"/>
              </a:rPr>
              <a:t> et </a:t>
            </a:r>
            <a:r>
              <a:rPr lang="en-US" sz="1100" err="1">
                <a:solidFill>
                  <a:schemeClr val="accent6"/>
                </a:solidFill>
                <a:latin typeface="Proximus Bold"/>
              </a:rPr>
              <a:t>bienvenue</a:t>
            </a:r>
            <a:r>
              <a:rPr lang="en-US" sz="1100">
                <a:solidFill>
                  <a:schemeClr val="accent6"/>
                </a:solidFill>
                <a:latin typeface="Proximus Bold"/>
              </a:rPr>
              <a:t> </a:t>
            </a:r>
            <a:r>
              <a:rPr lang="en-US" sz="1100" err="1">
                <a:solidFill>
                  <a:schemeClr val="accent6"/>
                </a:solidFill>
                <a:latin typeface="Proximus Bold"/>
              </a:rPr>
              <a:t>en</a:t>
            </a:r>
            <a:r>
              <a:rPr lang="en-US" sz="1100">
                <a:solidFill>
                  <a:schemeClr val="accent6"/>
                </a:solidFill>
                <a:latin typeface="Proximus Bold"/>
              </a:rPr>
              <a:t> </a:t>
            </a:r>
            <a:r>
              <a:rPr lang="en-US" sz="1100" err="1">
                <a:solidFill>
                  <a:schemeClr val="accent6"/>
                </a:solidFill>
                <a:latin typeface="Proximus Bold"/>
              </a:rPr>
              <a:t>ce</a:t>
            </a:r>
            <a:r>
              <a:rPr lang="en-US" sz="1100">
                <a:solidFill>
                  <a:schemeClr val="accent6"/>
                </a:solidFill>
                <a:latin typeface="Proximus Bold"/>
              </a:rPr>
              <a:t> début </a:t>
            </a:r>
            <a:r>
              <a:rPr lang="en-US" sz="1100" err="1">
                <a:solidFill>
                  <a:schemeClr val="accent6"/>
                </a:solidFill>
                <a:latin typeface="Proximus Bold"/>
              </a:rPr>
              <a:t>d'année</a:t>
            </a:r>
            <a:r>
              <a:rPr lang="en-US" sz="1100">
                <a:solidFill>
                  <a:schemeClr val="accent6"/>
                </a:solidFill>
                <a:latin typeface="Proximus Bold"/>
              </a:rPr>
              <a:t> 2025 pour </a:t>
            </a:r>
            <a:r>
              <a:rPr lang="en-US" sz="1100" err="1">
                <a:solidFill>
                  <a:schemeClr val="accent6"/>
                </a:solidFill>
                <a:latin typeface="Proximus Bold"/>
              </a:rPr>
              <a:t>notre</a:t>
            </a:r>
            <a:r>
              <a:rPr lang="en-US" sz="1100">
                <a:solidFill>
                  <a:schemeClr val="accent6"/>
                </a:solidFill>
                <a:latin typeface="Proximus Bold"/>
              </a:rPr>
              <a:t> cascade de la </a:t>
            </a:r>
            <a:r>
              <a:rPr lang="en-US" sz="1100" err="1">
                <a:solidFill>
                  <a:schemeClr val="accent6"/>
                </a:solidFill>
                <a:latin typeface="Proximus Bold"/>
              </a:rPr>
              <a:t>stratégie</a:t>
            </a:r>
            <a:r>
              <a:rPr lang="en-US" sz="1100">
                <a:solidFill>
                  <a:schemeClr val="accent6"/>
                </a:solidFill>
                <a:latin typeface="Proximus Bold"/>
              </a:rPr>
              <a:t> NBU. Je suis Magali </a:t>
            </a:r>
            <a:r>
              <a:rPr lang="en-US" sz="1100" err="1">
                <a:solidFill>
                  <a:schemeClr val="accent6"/>
                </a:solidFill>
                <a:latin typeface="Proximus Bold"/>
              </a:rPr>
              <a:t>Duprez</a:t>
            </a:r>
            <a:r>
              <a:rPr lang="en-US" sz="1100">
                <a:solidFill>
                  <a:schemeClr val="accent6"/>
                </a:solidFill>
                <a:latin typeface="Proximus Bold"/>
              </a:rPr>
              <a:t>, je </a:t>
            </a:r>
            <a:r>
              <a:rPr lang="en-US" sz="1100" err="1">
                <a:solidFill>
                  <a:schemeClr val="accent6"/>
                </a:solidFill>
                <a:latin typeface="Proximus Bold"/>
              </a:rPr>
              <a:t>travaille</a:t>
            </a:r>
            <a:r>
              <a:rPr lang="en-US" sz="1100">
                <a:solidFill>
                  <a:schemeClr val="accent6"/>
                </a:solidFill>
                <a:latin typeface="Proximus Bold"/>
              </a:rPr>
              <a:t> chez CWS </a:t>
            </a:r>
            <a:r>
              <a:rPr lang="en-US" sz="1100" err="1">
                <a:solidFill>
                  <a:schemeClr val="accent6"/>
                </a:solidFill>
                <a:latin typeface="Proximus Bold"/>
              </a:rPr>
              <a:t>où</a:t>
            </a:r>
            <a:r>
              <a:rPr lang="en-US" sz="1100">
                <a:solidFill>
                  <a:schemeClr val="accent6"/>
                </a:solidFill>
                <a:latin typeface="Proximus Bold"/>
              </a:rPr>
              <a:t> je </a:t>
            </a:r>
            <a:r>
              <a:rPr lang="en-US" sz="1100" err="1">
                <a:solidFill>
                  <a:schemeClr val="accent6"/>
                </a:solidFill>
                <a:latin typeface="Proximus Bold"/>
              </a:rPr>
              <a:t>gère</a:t>
            </a:r>
            <a:r>
              <a:rPr lang="en-US" sz="1100">
                <a:solidFill>
                  <a:schemeClr val="accent6"/>
                </a:solidFill>
                <a:latin typeface="Proximus Bold"/>
              </a:rPr>
              <a:t> </a:t>
            </a:r>
            <a:r>
              <a:rPr lang="en-US" sz="1100" err="1">
                <a:solidFill>
                  <a:schemeClr val="accent6"/>
                </a:solidFill>
                <a:latin typeface="Proximus Bold"/>
              </a:rPr>
              <a:t>nos</a:t>
            </a:r>
            <a:r>
              <a:rPr lang="en-US" sz="1100">
                <a:solidFill>
                  <a:schemeClr val="accent6"/>
                </a:solidFill>
                <a:latin typeface="Proximus Bold"/>
              </a:rPr>
              <a:t> initiatives de </a:t>
            </a:r>
            <a:r>
              <a:rPr lang="en-US" sz="1100" err="1">
                <a:solidFill>
                  <a:schemeClr val="accent6"/>
                </a:solidFill>
                <a:latin typeface="Proximus Bold"/>
              </a:rPr>
              <a:t>softwarization</a:t>
            </a:r>
            <a:r>
              <a:rPr lang="en-US" sz="1100">
                <a:solidFill>
                  <a:schemeClr val="accent6"/>
                </a:solidFill>
                <a:latin typeface="Proximus Bold"/>
              </a:rPr>
              <a:t>. Je suis très </a:t>
            </a:r>
            <a:r>
              <a:rPr lang="en-US" sz="1100" err="1">
                <a:solidFill>
                  <a:schemeClr val="accent6"/>
                </a:solidFill>
                <a:latin typeface="Proximus Bold"/>
              </a:rPr>
              <a:t>heureuse</a:t>
            </a:r>
            <a:r>
              <a:rPr lang="en-US" sz="1100">
                <a:solidFill>
                  <a:schemeClr val="accent6"/>
                </a:solidFill>
                <a:latin typeface="Proximus Bold"/>
              </a:rPr>
              <a:t> de </a:t>
            </a:r>
            <a:r>
              <a:rPr lang="en-US" sz="1100" err="1">
                <a:solidFill>
                  <a:schemeClr val="accent6"/>
                </a:solidFill>
                <a:latin typeface="Proximus Bold"/>
              </a:rPr>
              <a:t>pouvoir</a:t>
            </a:r>
            <a:r>
              <a:rPr lang="en-US" sz="1100">
                <a:solidFill>
                  <a:schemeClr val="accent6"/>
                </a:solidFill>
                <a:latin typeface="Proximus Bold"/>
              </a:rPr>
              <a:t>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accommpagner</a:t>
            </a:r>
            <a:r>
              <a:rPr lang="en-US" sz="1100">
                <a:solidFill>
                  <a:schemeClr val="accent6"/>
                </a:solidFill>
                <a:latin typeface="Proximus Bold"/>
              </a:rPr>
              <a:t> </a:t>
            </a:r>
            <a:r>
              <a:rPr lang="en-US" sz="1100" err="1">
                <a:solidFill>
                  <a:schemeClr val="accent6"/>
                </a:solidFill>
                <a:latin typeface="Proximus Bold"/>
              </a:rPr>
              <a:t>cet</a:t>
            </a:r>
            <a:r>
              <a:rPr lang="en-US" sz="1100">
                <a:solidFill>
                  <a:schemeClr val="accent6"/>
                </a:solidFill>
                <a:latin typeface="Proximus Bold"/>
              </a:rPr>
              <a:t> après-midi </a:t>
            </a:r>
            <a:r>
              <a:rPr lang="en-US" sz="1100" err="1">
                <a:solidFill>
                  <a:schemeClr val="accent6"/>
                </a:solidFill>
                <a:latin typeface="Proximus Bold"/>
              </a:rPr>
              <a:t>en</a:t>
            </a:r>
            <a:r>
              <a:rPr lang="en-US" sz="1100">
                <a:solidFill>
                  <a:schemeClr val="accent6"/>
                </a:solidFill>
                <a:latin typeface="Proximus Bold"/>
              </a:rPr>
              <a:t> tant </a:t>
            </a:r>
            <a:r>
              <a:rPr lang="en-US" sz="1100" err="1">
                <a:solidFill>
                  <a:schemeClr val="accent6"/>
                </a:solidFill>
                <a:latin typeface="Proximus Bold"/>
              </a:rPr>
              <a:t>qu'hôte</a:t>
            </a:r>
            <a:r>
              <a:rPr lang="en-US" sz="1100">
                <a:solidFill>
                  <a:schemeClr val="accent6"/>
                </a:solidFill>
                <a:latin typeface="Proximus Bold"/>
              </a:rPr>
              <a:t> avec Robin.</a:t>
            </a:r>
          </a:p>
          <a:p>
            <a:pPr marL="171450" indent="-171450">
              <a:buFont typeface="Arial" panose="020B0604020202020204" pitchFamily="34" charset="0"/>
              <a:buChar char="•"/>
            </a:pPr>
            <a:r>
              <a:rPr lang="nl-NL" sz="1100" b="1" i="0" u="sng">
                <a:solidFill>
                  <a:schemeClr val="accent6"/>
                </a:solidFill>
                <a:effectLst/>
                <a:latin typeface="Segoe UI"/>
                <a:cs typeface="Segoe UI"/>
              </a:rPr>
              <a:t>ROBIN</a:t>
            </a:r>
            <a:r>
              <a:rPr lang="nl-NL" sz="1100" b="0" i="0">
                <a:solidFill>
                  <a:schemeClr val="accent6"/>
                </a:solidFill>
                <a:effectLst/>
                <a:latin typeface="Segoe UI"/>
                <a:cs typeface="Segoe UI"/>
              </a:rPr>
              <a:t> : Goeiemiddag iedereen. Ik ben Robin. Ik werk in het Fiber-team op onze strategie en partnerschappen en ik ben net zo blij als Magali om vandaag een van uw </a:t>
            </a:r>
            <a:r>
              <a:rPr lang="nl-NL" sz="1100" b="0" i="0" err="1">
                <a:solidFill>
                  <a:schemeClr val="accent6"/>
                </a:solidFill>
                <a:effectLst/>
                <a:latin typeface="Segoe UI"/>
                <a:cs typeface="Segoe UI"/>
              </a:rPr>
              <a:t>hosts</a:t>
            </a:r>
            <a:r>
              <a:rPr lang="nl-NL" sz="1100" b="0" i="0">
                <a:solidFill>
                  <a:schemeClr val="accent6"/>
                </a:solidFill>
                <a:effectLst/>
                <a:latin typeface="Segoe UI"/>
                <a:cs typeface="Segoe UI"/>
              </a:rPr>
              <a:t> te zijn ;-) Ook een warm welkom aan iedereen die ons via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of via </a:t>
            </a:r>
            <a:r>
              <a:rPr lang="nl-NL" sz="1100" b="0" i="0" err="1">
                <a:solidFill>
                  <a:schemeClr val="accent6"/>
                </a:solidFill>
                <a:effectLst/>
                <a:latin typeface="Segoe UI"/>
                <a:cs typeface="Segoe UI"/>
              </a:rPr>
              <a:t>Pickx</a:t>
            </a:r>
            <a:r>
              <a:rPr lang="nl-NL" sz="1100" b="0" i="0">
                <a:solidFill>
                  <a:schemeClr val="accent6"/>
                </a:solidFill>
                <a:effectLst/>
                <a:latin typeface="Segoe UI"/>
                <a:cs typeface="Segoe UI"/>
              </a:rPr>
              <a:t> bekijkt. Voor de mensen op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a:t>
            </a:r>
            <a:r>
              <a:rPr lang="nl-NL" sz="1100" b="0" i="0" err="1">
                <a:solidFill>
                  <a:schemeClr val="accent6"/>
                </a:solidFill>
                <a:effectLst/>
                <a:latin typeface="Segoe UI"/>
                <a:cs typeface="Segoe UI"/>
              </a:rPr>
              <a:t>Pickx</a:t>
            </a:r>
            <a:r>
              <a:rPr lang="nl-NL" sz="1100" b="0" i="0">
                <a:solidFill>
                  <a:schemeClr val="accent6"/>
                </a:solidFill>
                <a:effectLst/>
                <a:latin typeface="Segoe UI"/>
                <a:cs typeface="Segoe UI"/>
              </a:rPr>
              <a:t> is er vandaag een simultane vertaling via een AI-tool. Het is dus mogelijk dat er soms wat 'exotische' vertalingen zijn – we danken jullie alvast voor het nodige begrip hiervoor ;-) Genoeg met de praktische beslommeringen, Magali, waarom zijn we hier vandaag?</a:t>
            </a:r>
            <a:endParaRPr lang="fr-BE" sz="1100" b="0">
              <a:solidFill>
                <a:schemeClr val="accent6"/>
              </a:solidFill>
              <a:latin typeface="Segoe UI"/>
              <a:cs typeface="Segoe UI"/>
            </a:endParaRPr>
          </a:p>
        </p:txBody>
      </p:sp>
      <p:sp>
        <p:nvSpPr>
          <p:cNvPr id="4" name="Slide Number Placeholder 3">
            <a:extLst>
              <a:ext uri="{FF2B5EF4-FFF2-40B4-BE49-F238E27FC236}">
                <a16:creationId xmlns:a16="http://schemas.microsoft.com/office/drawing/2014/main" id="{3FFD050D-1CF3-4F75-50A8-5D17C1E0BCD5}"/>
              </a:ext>
            </a:extLst>
          </p:cNvPr>
          <p:cNvSpPr>
            <a:spLocks noGrp="1"/>
          </p:cNvSpPr>
          <p:nvPr>
            <p:ph type="sldNum" sz="quarter" idx="5"/>
          </p:nvPr>
        </p:nvSpPr>
        <p:spPr/>
        <p:txBody>
          <a:bodyPr/>
          <a:lstStyle/>
          <a:p>
            <a:fld id="{FA918F22-1231-AB43-96E7-2B8B890DCD5E}" type="slidenum">
              <a:rPr lang="en-US" smtClean="0"/>
              <a:pPr/>
              <a:t>2</a:t>
            </a:fld>
            <a:endParaRPr lang="en-US"/>
          </a:p>
        </p:txBody>
      </p:sp>
    </p:spTree>
    <p:extLst>
      <p:ext uri="{BB962C8B-B14F-4D97-AF65-F5344CB8AC3E}">
        <p14:creationId xmlns:p14="http://schemas.microsoft.com/office/powerpoint/2010/main" val="39993330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t>VINCENT</a:t>
            </a: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Coverage and Speed</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he RAN Swap and consolidation is finally progressing well, by mid next year it will nearly be finalized (except some long tail) bringing our </a:t>
            </a:r>
            <a:r>
              <a:rPr lang="en-US" sz="1100" b="1" kern="100">
                <a:effectLst/>
                <a:latin typeface="Aptos" panose="020B0004020202020204" pitchFamily="34" charset="0"/>
                <a:ea typeface="Aptos" panose="020B0004020202020204" pitchFamily="34" charset="0"/>
                <a:cs typeface="Arial" panose="020B0604020202020204" pitchFamily="34" charset="0"/>
              </a:rPr>
              <a:t>5G coverage close to 98% indoor </a:t>
            </a:r>
            <a:r>
              <a:rPr lang="en-US" sz="1100" kern="100">
                <a:effectLst/>
                <a:latin typeface="Aptos" panose="020B0004020202020204" pitchFamily="34" charset="0"/>
                <a:ea typeface="Aptos" panose="020B0004020202020204" pitchFamily="34" charset="0"/>
                <a:cs typeface="Arial" panose="020B0604020202020204" pitchFamily="34" charset="0"/>
              </a:rPr>
              <a:t>!! and close to 100% outdoor. Imagine this … we were nowhere 3 years ago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are confident to offer </a:t>
            </a:r>
            <a:r>
              <a:rPr lang="en-US" sz="1100" b="1" kern="100">
                <a:effectLst/>
                <a:latin typeface="Aptos" panose="020B0004020202020204" pitchFamily="34" charset="0"/>
                <a:ea typeface="Aptos" panose="020B0004020202020204" pitchFamily="34" charset="0"/>
                <a:cs typeface="Arial" panose="020B0604020202020204" pitchFamily="34" charset="0"/>
              </a:rPr>
              <a:t>better coverage than </a:t>
            </a:r>
            <a:r>
              <a:rPr lang="en-US" sz="1100" b="1" kern="100" err="1">
                <a:effectLst/>
                <a:latin typeface="Aptos" panose="020B0004020202020204" pitchFamily="34" charset="0"/>
                <a:ea typeface="Aptos" panose="020B0004020202020204" pitchFamily="34" charset="0"/>
                <a:cs typeface="Arial" panose="020B0604020202020204" pitchFamily="34" charset="0"/>
              </a:rPr>
              <a:t>Telenet</a:t>
            </a:r>
            <a:r>
              <a:rPr lang="en-US" sz="1100" b="1" kern="100">
                <a:effectLst/>
                <a:latin typeface="Aptos" panose="020B0004020202020204" pitchFamily="34" charset="0"/>
                <a:ea typeface="Aptos" panose="020B0004020202020204" pitchFamily="34" charset="0"/>
                <a:cs typeface="Arial" panose="020B0604020202020204" pitchFamily="34" charset="0"/>
              </a:rPr>
              <a:t> and DIGI (on their own network),</a:t>
            </a:r>
            <a:r>
              <a:rPr lang="en-US" sz="1100" kern="100">
                <a:effectLst/>
                <a:latin typeface="Aptos" panose="020B0004020202020204" pitchFamily="34" charset="0"/>
                <a:ea typeface="Aptos" panose="020B0004020202020204" pitchFamily="34" charset="0"/>
                <a:cs typeface="Arial" panose="020B0604020202020204" pitchFamily="34" charset="0"/>
              </a:rPr>
              <a:t> of course our </a:t>
            </a:r>
            <a:r>
              <a:rPr lang="en-US" sz="1100" b="1" kern="100">
                <a:effectLst/>
                <a:latin typeface="Aptos" panose="020B0004020202020204" pitchFamily="34" charset="0"/>
                <a:ea typeface="Aptos" panose="020B0004020202020204" pitchFamily="34" charset="0"/>
                <a:cs typeface="Arial" panose="020B0604020202020204" pitchFamily="34" charset="0"/>
              </a:rPr>
              <a:t>advantage of OBE will be minimal</a:t>
            </a:r>
            <a:r>
              <a:rPr lang="en-US" sz="1100" kern="100">
                <a:effectLst/>
                <a:latin typeface="Aptos" panose="020B0004020202020204" pitchFamily="34" charset="0"/>
                <a:ea typeface="Aptos" panose="020B0004020202020204" pitchFamily="34" charset="0"/>
                <a:cs typeface="Arial" panose="020B0604020202020204" pitchFamily="34" charset="0"/>
              </a:rPr>
              <a:t>. In speed  we continue to invest massively in NR35 allowing us to sustain our </a:t>
            </a:r>
            <a:r>
              <a:rPr lang="en-US" sz="1100" b="1" kern="100">
                <a:effectLst/>
                <a:latin typeface="Aptos" panose="020B0004020202020204" pitchFamily="34" charset="0"/>
                <a:ea typeface="Aptos" panose="020B0004020202020204" pitchFamily="34" charset="0"/>
                <a:cs typeface="Arial" panose="020B0604020202020204" pitchFamily="34" charset="0"/>
              </a:rPr>
              <a:t>fastest network claim</a:t>
            </a:r>
          </a:p>
          <a:p>
            <a:pPr marL="342900" lvl="0" indent="-342900">
              <a:lnSpc>
                <a:spcPct val="107000"/>
              </a:lnSpc>
              <a:spcAft>
                <a:spcPts val="800"/>
              </a:spcAft>
              <a:buFont typeface="Symbol" panose="05050102010706020507" pitchFamily="18" charset="2"/>
              <a:buChar char=""/>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Customer Experience</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After a few years focusing on swap volumes we want to </a:t>
            </a:r>
            <a:r>
              <a:rPr lang="en-US" sz="1100" b="1" kern="100">
                <a:effectLst/>
                <a:latin typeface="Aptos" panose="020B0004020202020204" pitchFamily="34" charset="0"/>
                <a:ea typeface="Aptos" panose="020B0004020202020204" pitchFamily="34" charset="0"/>
                <a:cs typeface="Arial" panose="020B0604020202020204" pitchFamily="34" charset="0"/>
              </a:rPr>
              <a:t>bring back the focus on quality </a:t>
            </a:r>
            <a:r>
              <a:rPr lang="en-US" sz="1100" kern="100">
                <a:effectLst/>
                <a:latin typeface="Aptos" panose="020B0004020202020204" pitchFamily="34" charset="0"/>
                <a:ea typeface="Aptos" panose="020B0004020202020204" pitchFamily="34" charset="0"/>
                <a:cs typeface="Arial" panose="020B0604020202020204" pitchFamily="34" charset="0"/>
              </a:rPr>
              <a:t>in order to improve our customer experience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Aurora </a:t>
            </a:r>
            <a:r>
              <a:rPr lang="en-US" sz="1100" b="1" kern="100">
                <a:effectLst/>
                <a:latin typeface="Aptos" panose="020B0004020202020204" pitchFamily="34" charset="0"/>
                <a:ea typeface="Aptos" panose="020B0004020202020204" pitchFamily="34" charset="0"/>
                <a:cs typeface="Arial" panose="020B0604020202020204" pitchFamily="34" charset="0"/>
              </a:rPr>
              <a:t>coverage</a:t>
            </a:r>
            <a:r>
              <a:rPr lang="en-US" sz="1100" kern="100">
                <a:effectLst/>
                <a:latin typeface="Aptos" panose="020B0004020202020204" pitchFamily="34" charset="0"/>
                <a:ea typeface="Aptos" panose="020B0004020202020204" pitchFamily="34" charset="0"/>
                <a:cs typeface="Arial" panose="020B0604020202020204" pitchFamily="34" charset="0"/>
              </a:rPr>
              <a:t> gain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Keep very </a:t>
            </a:r>
            <a:r>
              <a:rPr lang="en-US" sz="1100" b="1" kern="100">
                <a:effectLst/>
                <a:latin typeface="Aptos" panose="020B0004020202020204" pitchFamily="34" charset="0"/>
                <a:ea typeface="Aptos" panose="020B0004020202020204" pitchFamily="34" charset="0"/>
                <a:cs typeface="Arial" panose="020B0604020202020204" pitchFamily="34" charset="0"/>
              </a:rPr>
              <a:t>low saturation</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comprehensive </a:t>
            </a:r>
            <a:r>
              <a:rPr lang="en-US" sz="1100" b="1" kern="100" err="1">
                <a:effectLst/>
                <a:latin typeface="Aptos" panose="020B0004020202020204" pitchFamily="34" charset="0"/>
                <a:ea typeface="Aptos" panose="020B0004020202020204" pitchFamily="34" charset="0"/>
                <a:cs typeface="Arial" panose="020B0604020202020204" pitchFamily="34" charset="0"/>
              </a:rPr>
              <a:t>optimisation</a:t>
            </a:r>
            <a:r>
              <a:rPr lang="en-US" sz="1100" kern="100">
                <a:effectLst/>
                <a:latin typeface="Aptos" panose="020B0004020202020204" pitchFamily="34" charset="0"/>
                <a:ea typeface="Aptos" panose="020B0004020202020204" pitchFamily="34" charset="0"/>
                <a:cs typeface="Arial" panose="020B0604020202020204" pitchFamily="34" charset="0"/>
              </a:rPr>
              <a:t> phase</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leverage of </a:t>
            </a:r>
            <a:r>
              <a:rPr lang="en-US" sz="1100" b="1" kern="100">
                <a:effectLst/>
                <a:latin typeface="Aptos" panose="020B0004020202020204" pitchFamily="34" charset="0"/>
                <a:ea typeface="Aptos" panose="020B0004020202020204" pitchFamily="34" charset="0"/>
                <a:cs typeface="Arial" panose="020B0604020202020204" pitchFamily="34" charset="0"/>
              </a:rPr>
              <a:t>spectrum leadership </a:t>
            </a:r>
            <a:r>
              <a:rPr lang="en-US" sz="1100" kern="100">
                <a:effectLst/>
                <a:latin typeface="Aptos" panose="020B0004020202020204" pitchFamily="34" charset="0"/>
                <a:ea typeface="Aptos" panose="020B0004020202020204" pitchFamily="34" charset="0"/>
                <a:cs typeface="Arial" panose="020B0604020202020204" pitchFamily="34" charset="0"/>
              </a:rPr>
              <a:t>like the 1400Mhz band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spcAft>
                <a:spcPts val="800"/>
              </a:spcAft>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increased </a:t>
            </a:r>
            <a:r>
              <a:rPr lang="en-US" sz="1100" b="1" kern="100">
                <a:effectLst/>
                <a:latin typeface="Aptos" panose="020B0004020202020204" pitchFamily="34" charset="0"/>
                <a:ea typeface="Aptos" panose="020B0004020202020204" pitchFamily="34" charset="0"/>
                <a:cs typeface="Arial" panose="020B0604020202020204" pitchFamily="34" charset="0"/>
              </a:rPr>
              <a:t>monitoring capabilities</a:t>
            </a:r>
            <a:r>
              <a:rPr lang="en-US" sz="1100" kern="100">
                <a:effectLst/>
                <a:latin typeface="Aptos" panose="020B0004020202020204" pitchFamily="34" charset="0"/>
                <a:ea typeface="Aptos" panose="020B0004020202020204" pitchFamily="34" charset="0"/>
                <a:cs typeface="Arial" panose="020B0604020202020204" pitchFamily="34" charset="0"/>
              </a:rPr>
              <a:t>, new </a:t>
            </a:r>
            <a:r>
              <a:rPr lang="en-US" sz="1100" kern="100" err="1">
                <a:effectLst/>
                <a:latin typeface="Aptos" panose="020B0004020202020204" pitchFamily="34" charset="0"/>
                <a:ea typeface="Aptos" panose="020B0004020202020204" pitchFamily="34" charset="0"/>
                <a:cs typeface="Arial" panose="020B0604020202020204" pitchFamily="34" charset="0"/>
              </a:rPr>
              <a:t>Mwingz</a:t>
            </a:r>
            <a:r>
              <a:rPr lang="en-US" sz="1100" kern="100">
                <a:effectLst/>
                <a:latin typeface="Aptos" panose="020B0004020202020204" pitchFamily="34" charset="0"/>
                <a:ea typeface="Aptos" panose="020B0004020202020204" pitchFamily="34" charset="0"/>
                <a:cs typeface="Arial" panose="020B0604020202020204" pitchFamily="34" charset="0"/>
              </a:rPr>
              <a:t> </a:t>
            </a:r>
            <a:r>
              <a:rPr lang="en-US" sz="1100" b="1" kern="100">
                <a:effectLst/>
                <a:latin typeface="Aptos" panose="020B0004020202020204" pitchFamily="34" charset="0"/>
                <a:ea typeface="Aptos" panose="020B0004020202020204" pitchFamily="34" charset="0"/>
                <a:cs typeface="Arial" panose="020B0604020202020204" pitchFamily="34" charset="0"/>
              </a:rPr>
              <a:t>organization</a:t>
            </a:r>
            <a:r>
              <a:rPr lang="en-US" sz="1100" kern="100">
                <a:effectLst/>
                <a:latin typeface="Aptos" panose="020B0004020202020204" pitchFamily="34" charset="0"/>
                <a:ea typeface="Aptos" panose="020B0004020202020204" pitchFamily="34" charset="0"/>
                <a:cs typeface="Arial" panose="020B0604020202020204" pitchFamily="34" charset="0"/>
              </a:rPr>
              <a:t> set-up and generalized use of </a:t>
            </a:r>
            <a:r>
              <a:rPr lang="en-US" sz="1100" b="1" kern="100">
                <a:effectLst/>
                <a:latin typeface="Aptos" panose="020B0004020202020204" pitchFamily="34" charset="0"/>
                <a:ea typeface="Aptos" panose="020B0004020202020204" pitchFamily="34" charset="0"/>
                <a:cs typeface="Arial" panose="020B0604020202020204" pitchFamily="34" charset="0"/>
              </a:rPr>
              <a:t>analytics</a:t>
            </a:r>
            <a:r>
              <a:rPr lang="en-US" sz="1100" kern="100">
                <a:effectLst/>
                <a:latin typeface="Aptos" panose="020B0004020202020204" pitchFamily="34" charset="0"/>
                <a:ea typeface="Aptos" panose="020B0004020202020204" pitchFamily="34" charset="0"/>
                <a:cs typeface="Arial" panose="020B0604020202020204" pitchFamily="34" charset="0"/>
              </a:rPr>
              <a:t> should help us reach this goal</a:t>
            </a:r>
          </a:p>
          <a:p>
            <a:pPr marL="742950" lvl="1" indent="-285750">
              <a:lnSpc>
                <a:spcPct val="107000"/>
              </a:lnSpc>
              <a:spcAft>
                <a:spcPts val="800"/>
              </a:spcAft>
              <a:buFont typeface="Courier New" panose="02070309020205020404" pitchFamily="49" charset="0"/>
              <a:buChar char="o"/>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Simplify, modernize, automate to be efficient</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a:t>
            </a:r>
            <a:r>
              <a:rPr lang="en-US" sz="1100" b="1" u="sng" kern="100" err="1">
                <a:effectLst/>
                <a:latin typeface="Aptos" panose="020B0004020202020204" pitchFamily="34" charset="0"/>
                <a:ea typeface="Aptos" panose="020B0004020202020204" pitchFamily="34" charset="0"/>
                <a:cs typeface="Arial" panose="020B0604020202020204" pitchFamily="34" charset="0"/>
              </a:rPr>
              <a:t>outphase</a:t>
            </a:r>
            <a:r>
              <a:rPr lang="en-US" sz="1100" b="1" u="sng" kern="100">
                <a:effectLst/>
                <a:latin typeface="Aptos" panose="020B0004020202020204" pitchFamily="34" charset="0"/>
                <a:ea typeface="Aptos" panose="020B0004020202020204" pitchFamily="34" charset="0"/>
                <a:cs typeface="Arial" panose="020B0604020202020204" pitchFamily="34" charset="0"/>
              </a:rPr>
              <a:t> legacy 3G and 2G technologies</a:t>
            </a:r>
            <a:r>
              <a:rPr lang="en-US" sz="1100" b="1" kern="100">
                <a:effectLst/>
                <a:latin typeface="Aptos" panose="020B0004020202020204" pitchFamily="34" charset="0"/>
                <a:ea typeface="Aptos" panose="020B0004020202020204" pitchFamily="34" charset="0"/>
                <a:cs typeface="Arial" panose="020B0604020202020204" pitchFamily="34" charset="0"/>
              </a:rPr>
              <a:t> </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implement </a:t>
            </a:r>
            <a:r>
              <a:rPr lang="en-US" sz="1100" b="1" u="sng" kern="100">
                <a:effectLst/>
                <a:latin typeface="Aptos" panose="020B0004020202020204" pitchFamily="34" charset="0"/>
                <a:ea typeface="Aptos" panose="020B0004020202020204" pitchFamily="34" charset="0"/>
                <a:cs typeface="Arial" panose="020B0604020202020204" pitchFamily="34" charset="0"/>
              </a:rPr>
              <a:t>Energy Savings features</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based on AI and Machine Learning technologies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ogether with MWingz, we’ll evolve to </a:t>
            </a:r>
            <a:r>
              <a:rPr lang="en-US" sz="1100" b="1" u="sng" kern="100">
                <a:effectLst/>
                <a:latin typeface="Aptos" panose="020B0004020202020204" pitchFamily="34" charset="0"/>
                <a:ea typeface="Aptos" panose="020B0004020202020204" pitchFamily="34" charset="0"/>
                <a:cs typeface="Arial" panose="020B0604020202020204" pitchFamily="34" charset="0"/>
              </a:rPr>
              <a:t>best-in-class IT tools and API</a:t>
            </a:r>
            <a:r>
              <a:rPr lang="en-US" sz="1100" kern="100">
                <a:effectLst/>
                <a:latin typeface="Aptos" panose="020B0004020202020204" pitchFamily="34" charset="0"/>
                <a:ea typeface="Aptos" panose="020B0004020202020204" pitchFamily="34" charset="0"/>
                <a:cs typeface="Arial" panose="020B0604020202020204" pitchFamily="34" charset="0"/>
              </a:rPr>
              <a:t>, enabling highly automated operations (like parameters consistency check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he complete mobile voice platform landscape will be modernized</a:t>
            </a:r>
          </a:p>
          <a:p>
            <a:pPr marL="0" lvl="0" indent="0">
              <a:lnSpc>
                <a:spcPct val="107000"/>
              </a:lnSpc>
              <a:spcAft>
                <a:spcPts val="800"/>
              </a:spcAft>
              <a:buFont typeface="Symbol" panose="05050102010706020507" pitchFamily="18" charset="2"/>
              <a:buNone/>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Innovation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want </a:t>
            </a:r>
            <a:r>
              <a:rPr lang="en-US" sz="1100" u="sng" kern="100">
                <a:effectLst/>
                <a:latin typeface="Aptos" panose="020B0004020202020204" pitchFamily="34" charset="0"/>
                <a:ea typeface="Aptos" panose="020B0004020202020204" pitchFamily="34" charset="0"/>
                <a:cs typeface="Arial" panose="020B0604020202020204" pitchFamily="34" charset="0"/>
              </a:rPr>
              <a:t>to </a:t>
            </a:r>
            <a:r>
              <a:rPr lang="en-US" sz="1100" b="1" u="sng" kern="100">
                <a:effectLst/>
                <a:latin typeface="Aptos" panose="020B0004020202020204" pitchFamily="34" charset="0"/>
                <a:ea typeface="Aptos" panose="020B0004020202020204" pitchFamily="34" charset="0"/>
                <a:cs typeface="Arial" panose="020B0604020202020204" pitchFamily="34" charset="0"/>
              </a:rPr>
              <a:t>lead B2B solutions</a:t>
            </a:r>
            <a:r>
              <a:rPr lang="en-US" sz="1100" b="1" kern="100">
                <a:effectLst/>
                <a:latin typeface="Aptos" panose="020B0004020202020204" pitchFamily="34" charset="0"/>
                <a:ea typeface="Aptos" panose="020B0004020202020204" pitchFamily="34" charset="0"/>
                <a:cs typeface="Arial" panose="020B0604020202020204" pitchFamily="34" charset="0"/>
              </a:rPr>
              <a:t> </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a:t>
            </a:r>
            <a:r>
              <a:rPr lang="en-US" sz="1100" b="1" u="sng" kern="100">
                <a:effectLst/>
                <a:latin typeface="Aptos" panose="020B0004020202020204" pitchFamily="34" charset="0"/>
                <a:ea typeface="Aptos" panose="020B0004020202020204" pitchFamily="34" charset="0"/>
                <a:cs typeface="Arial" panose="020B0604020202020204" pitchFamily="34" charset="0"/>
              </a:rPr>
              <a:t>finalize mobile core network migration</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to Ericsson, enabling 5G Standalone implementation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implement </a:t>
            </a:r>
            <a:r>
              <a:rPr lang="en-US" sz="1100" b="1" u="sng" kern="100">
                <a:effectLst/>
                <a:latin typeface="Aptos" panose="020B0004020202020204" pitchFamily="34" charset="0"/>
                <a:ea typeface="Aptos" panose="020B0004020202020204" pitchFamily="34" charset="0"/>
                <a:cs typeface="Arial" panose="020B0604020202020204" pitchFamily="34" charset="0"/>
              </a:rPr>
              <a:t>Mobile Private Networks</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nd dedicated B2B solutions, enabling digital transformation of various vertical markets (healthcare, security, manufacturing,..)</a:t>
            </a: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will develop our </a:t>
            </a:r>
            <a:r>
              <a:rPr lang="en-US" sz="1100" b="1" kern="100">
                <a:effectLst/>
                <a:latin typeface="Aptos" panose="020B0004020202020204" pitchFamily="34" charset="0"/>
                <a:ea typeface="Aptos" panose="020B0004020202020204" pitchFamily="34" charset="0"/>
                <a:cs typeface="Arial" panose="020B0604020202020204" pitchFamily="34" charset="0"/>
              </a:rPr>
              <a:t>5G SA portfolio </a:t>
            </a:r>
            <a:r>
              <a:rPr lang="en-US" sz="1100" kern="100">
                <a:effectLst/>
                <a:latin typeface="Aptos" panose="020B0004020202020204" pitchFamily="34" charset="0"/>
                <a:ea typeface="Aptos" panose="020B0004020202020204" pitchFamily="34" charset="0"/>
                <a:cs typeface="Arial" panose="020B0604020202020204" pitchFamily="34" charset="0"/>
              </a:rPr>
              <a:t>with service slices on IOT and smartphones, followed by customer-defined slices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gn="l" rtl="0" fontAlgn="base">
              <a:lnSpc>
                <a:spcPts val="1376"/>
              </a:lnSpc>
              <a:buFont typeface="+mj-lt"/>
              <a:buAutoNum type="arabicPeriod"/>
            </a:pPr>
            <a:endParaRPr lang="en-US" sz="1100">
              <a:solidFill>
                <a:srgbClr val="000000"/>
              </a:solidFill>
              <a:effectLst/>
              <a:latin typeface="Proximus Light" pitchFamily="2" charset="77"/>
            </a:endParaRPr>
          </a:p>
          <a:p>
            <a:pPr algn="l" rtl="0" fontAlgn="base">
              <a:lnSpc>
                <a:spcPts val="1376"/>
              </a:lnSpc>
              <a:buFont typeface="+mj-lt"/>
              <a:buAutoNum type="arabicPeriod"/>
            </a:pPr>
            <a:endParaRPr lang="fr-BE" sz="1100"/>
          </a:p>
          <a:p>
            <a:pPr algn="l" rtl="0" fontAlgn="base">
              <a:lnSpc>
                <a:spcPts val="1376"/>
              </a:lnSpc>
              <a:buFont typeface="+mj-lt"/>
              <a:buAutoNum type="arabicPeriod"/>
            </a:pPr>
            <a:endParaRPr lang="en-US" sz="1100">
              <a:solidFill>
                <a:srgbClr val="000000"/>
              </a:solidFill>
              <a:effectLst/>
              <a:latin typeface="Proximus Light" pitchFamily="2" charset="77"/>
            </a:endParaRPr>
          </a:p>
          <a:p>
            <a:pPr algn="l" rtl="0" fontAlgn="base">
              <a:lnSpc>
                <a:spcPts val="1376"/>
              </a:lnSpc>
              <a:buFont typeface="+mj-lt"/>
              <a:buAutoNum type="arabicPeriod"/>
            </a:pPr>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018197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BE" sz="1100" b="1">
                <a:latin typeface="Proximus Bold"/>
              </a:rPr>
              <a:t>VINCENT</a:t>
            </a:r>
            <a:r>
              <a:rPr lang="en-US" sz="1100">
                <a:latin typeface="Proximus Bold"/>
              </a:rPr>
              <a:t> </a:t>
            </a:r>
            <a:r>
              <a:rPr lang="en-US" sz="1100" kern="100">
                <a:effectLst/>
                <a:latin typeface="Aptos" panose="020B0004020202020204" pitchFamily="34" charset="0"/>
                <a:ea typeface="Aptos" panose="020B0004020202020204" pitchFamily="34" charset="0"/>
                <a:cs typeface="Arial" panose="020B0604020202020204" pitchFamily="34" charset="0"/>
              </a:rPr>
              <a:t>Priorities 2025</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Continue </a:t>
            </a:r>
            <a:r>
              <a:rPr lang="en-US" sz="1100" b="1" kern="100">
                <a:effectLst/>
                <a:latin typeface="Aptos" panose="020B0004020202020204" pitchFamily="34" charset="0"/>
                <a:ea typeface="Aptos" panose="020B0004020202020204" pitchFamily="34" charset="0"/>
                <a:cs typeface="Arial" panose="020B0604020202020204" pitchFamily="34" charset="0"/>
              </a:rPr>
              <a:t>Aurora at full speed </a:t>
            </a:r>
            <a:r>
              <a:rPr lang="en-US" sz="1100" kern="100">
                <a:effectLst/>
                <a:latin typeface="Aptos" panose="020B0004020202020204" pitchFamily="34" charset="0"/>
                <a:ea typeface="Aptos" panose="020B0004020202020204" pitchFamily="34" charset="0"/>
                <a:cs typeface="Arial" panose="020B0604020202020204" pitchFamily="34" charset="0"/>
              </a:rPr>
              <a:t>as this is the foundation of our modernized networ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Further </a:t>
            </a:r>
            <a:r>
              <a:rPr lang="en-US" sz="1100" b="1" kern="100">
                <a:effectLst/>
                <a:latin typeface="Aptos" panose="020B0004020202020204" pitchFamily="34" charset="0"/>
                <a:ea typeface="Aptos" panose="020B0004020202020204" pitchFamily="34" charset="0"/>
                <a:cs typeface="Arial" panose="020B0604020202020204" pitchFamily="34" charset="0"/>
              </a:rPr>
              <a:t>deploy NR35 full 5G </a:t>
            </a:r>
            <a:r>
              <a:rPr lang="en-US" sz="1100" kern="100">
                <a:effectLst/>
                <a:latin typeface="Aptos" panose="020B0004020202020204" pitchFamily="34" charset="0"/>
                <a:ea typeface="Aptos" panose="020B0004020202020204" pitchFamily="34" charset="0"/>
                <a:cs typeface="Arial" panose="020B0604020202020204" pitchFamily="34" charset="0"/>
              </a:rPr>
              <a:t>to get speed benefits of 5G</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In a few weeks </a:t>
            </a:r>
            <a:r>
              <a:rPr lang="en-US" sz="1100" b="1" kern="100">
                <a:effectLst/>
                <a:latin typeface="Aptos" panose="020B0004020202020204" pitchFamily="34" charset="0"/>
                <a:ea typeface="Aptos" panose="020B0004020202020204" pitchFamily="34" charset="0"/>
                <a:cs typeface="Arial" panose="020B0604020202020204" pitchFamily="34" charset="0"/>
              </a:rPr>
              <a:t>3G will be completely </a:t>
            </a:r>
            <a:r>
              <a:rPr lang="en-US" sz="1100" b="1" kern="100" err="1">
                <a:effectLst/>
                <a:latin typeface="Aptos" panose="020B0004020202020204" pitchFamily="34" charset="0"/>
                <a:ea typeface="Aptos" panose="020B0004020202020204" pitchFamily="34" charset="0"/>
                <a:cs typeface="Arial" panose="020B0604020202020204" pitchFamily="34" charset="0"/>
              </a:rPr>
              <a:t>outphased</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nd spectrum </a:t>
            </a:r>
            <a:r>
              <a:rPr lang="en-US" sz="1100" kern="100" err="1">
                <a:effectLst/>
                <a:latin typeface="Aptos" panose="020B0004020202020204" pitchFamily="34" charset="0"/>
                <a:ea typeface="Aptos" panose="020B0004020202020204" pitchFamily="34" charset="0"/>
                <a:cs typeface="Arial" panose="020B0604020202020204" pitchFamily="34" charset="0"/>
              </a:rPr>
              <a:t>refarmed</a:t>
            </a:r>
            <a:r>
              <a:rPr lang="en-US" sz="1100" kern="100">
                <a:effectLst/>
                <a:latin typeface="Aptos" panose="020B0004020202020204" pitchFamily="34" charset="0"/>
                <a:ea typeface="Aptos" panose="020B0004020202020204" pitchFamily="34" charset="0"/>
                <a:cs typeface="Arial" panose="020B0604020202020204" pitchFamily="34" charset="0"/>
              </a:rPr>
              <a:t> to 4G.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nticipate </a:t>
            </a:r>
            <a:r>
              <a:rPr lang="en-US" sz="1100" b="1" kern="100">
                <a:effectLst/>
                <a:latin typeface="Aptos" panose="020B0004020202020204" pitchFamily="34" charset="0"/>
                <a:ea typeface="Aptos" panose="020B0004020202020204" pitchFamily="34" charset="0"/>
                <a:cs typeface="Arial" panose="020B0604020202020204" pitchFamily="34" charset="0"/>
              </a:rPr>
              <a:t>possible traffic increases </a:t>
            </a:r>
            <a:r>
              <a:rPr lang="en-US" sz="1100" kern="100">
                <a:effectLst/>
                <a:latin typeface="Aptos" panose="020B0004020202020204" pitchFamily="34" charset="0"/>
                <a:ea typeface="Aptos" panose="020B0004020202020204" pitchFamily="34" charset="0"/>
                <a:cs typeface="Arial" panose="020B0604020202020204" pitchFamily="34" charset="0"/>
              </a:rPr>
              <a:t>linked to presence of DIGI customers on our networ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Implement big </a:t>
            </a:r>
            <a:r>
              <a:rPr lang="en-US" sz="1100" b="1" kern="100">
                <a:effectLst/>
                <a:latin typeface="Aptos" panose="020B0004020202020204" pitchFamily="34" charset="0"/>
                <a:ea typeface="Aptos" panose="020B0004020202020204" pitchFamily="34" charset="0"/>
                <a:cs typeface="Arial" panose="020B0604020202020204" pitchFamily="34" charset="0"/>
              </a:rPr>
              <a:t>IT transformation at </a:t>
            </a:r>
            <a:r>
              <a:rPr lang="en-US" sz="1100" b="1" kern="100" err="1">
                <a:effectLst/>
                <a:latin typeface="Aptos" panose="020B0004020202020204" pitchFamily="34" charset="0"/>
                <a:ea typeface="Aptos" panose="020B0004020202020204" pitchFamily="34" charset="0"/>
                <a:cs typeface="Arial" panose="020B0604020202020204" pitchFamily="34" charset="0"/>
              </a:rPr>
              <a:t>Mwingz</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t>
            </a:r>
            <a:r>
              <a:rPr lang="en-US" sz="1100" kern="100" err="1">
                <a:effectLst/>
                <a:latin typeface="Aptos" panose="020B0004020202020204" pitchFamily="34" charset="0"/>
                <a:ea typeface="Aptos" panose="020B0004020202020204" pitchFamily="34" charset="0"/>
                <a:cs typeface="Arial" panose="020B0604020202020204" pitchFamily="34" charset="0"/>
              </a:rPr>
              <a:t>Mworld</a:t>
            </a:r>
            <a:r>
              <a:rPr lang="en-US" sz="1100" kern="100">
                <a:effectLst/>
                <a:latin typeface="Aptos" panose="020B0004020202020204" pitchFamily="34" charset="0"/>
                <a:ea typeface="Aptos" panose="020B0004020202020204" pitchFamily="34" charset="0"/>
                <a:cs typeface="Arial" panose="020B0604020202020204" pitchFamily="34" charset="0"/>
              </a:rPr>
              <a:t>) and increase </a:t>
            </a:r>
            <a:r>
              <a:rPr lang="en-US" sz="1100" b="1" kern="100">
                <a:effectLst/>
                <a:latin typeface="Aptos" panose="020B0004020202020204" pitchFamily="34" charset="0"/>
                <a:ea typeface="Aptos" panose="020B0004020202020204" pitchFamily="34" charset="0"/>
                <a:cs typeface="Arial" panose="020B0604020202020204" pitchFamily="34" charset="0"/>
              </a:rPr>
              <a:t>data quality</a:t>
            </a:r>
            <a:r>
              <a:rPr lang="en-US" sz="1100" kern="100">
                <a:effectLst/>
                <a:latin typeface="Aptos" panose="020B0004020202020204" pitchFamily="34" charset="0"/>
                <a:ea typeface="Aptos" panose="020B0004020202020204" pitchFamily="34" charset="0"/>
                <a:cs typeface="Arial" panose="020B0604020202020204" pitchFamily="34" charset="0"/>
              </a:rPr>
              <a:t>. Paving the way for automation and AI</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The time has come to -</a:t>
            </a:r>
            <a:r>
              <a:rPr lang="en-US" sz="1100" b="1" kern="100">
                <a:effectLst/>
                <a:latin typeface="Aptos" panose="020B0004020202020204" pitchFamily="34" charset="0"/>
                <a:ea typeface="Aptos" panose="020B0004020202020204" pitchFamily="34" charset="0"/>
                <a:cs typeface="Arial" panose="020B0604020202020204" pitchFamily="34" charset="0"/>
              </a:rPr>
              <a:t>demonstrate the real benefits of 5G</a:t>
            </a:r>
            <a:r>
              <a:rPr lang="en-US" sz="1100" kern="100">
                <a:effectLst/>
                <a:latin typeface="Aptos" panose="020B0004020202020204" pitchFamily="34" charset="0"/>
                <a:ea typeface="Aptos" panose="020B0004020202020204" pitchFamily="34" charset="0"/>
                <a:cs typeface="Arial" panose="020B0604020202020204" pitchFamily="34" charset="0"/>
              </a:rPr>
              <a:t>. This year we will be able to launch a </a:t>
            </a:r>
            <a:r>
              <a:rPr lang="en-US" sz="1100" b="1" kern="100">
                <a:effectLst/>
                <a:latin typeface="Aptos" panose="020B0004020202020204" pitchFamily="34" charset="0"/>
                <a:ea typeface="Aptos" panose="020B0004020202020204" pitchFamily="34" charset="0"/>
                <a:cs typeface="Arial" panose="020B0604020202020204" pitchFamily="34" charset="0"/>
              </a:rPr>
              <a:t>first commercial slice </a:t>
            </a:r>
            <a:r>
              <a:rPr lang="en-US" sz="1100" kern="100">
                <a:effectLst/>
                <a:latin typeface="Aptos" panose="020B0004020202020204" pitchFamily="34" charset="0"/>
                <a:ea typeface="Aptos" panose="020B0004020202020204" pitchFamily="34" charset="0"/>
                <a:cs typeface="Arial" panose="020B0604020202020204" pitchFamily="34" charset="0"/>
              </a:rPr>
              <a:t>(resource reservation) in the Data/IoT domain and plan to follow with slices on smartphone soon after</a:t>
            </a:r>
            <a:endParaRPr lang="en-BE" sz="11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319588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Video one minute &gt; Erwin Van Hoof</a:t>
            </a:r>
          </a:p>
          <a:p>
            <a:endParaRPr lang="fr-BE" dirty="0"/>
          </a:p>
          <a:p>
            <a:endParaRPr lang="en-BE"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22</a:t>
            </a:fld>
            <a:endParaRPr lang="en-US"/>
          </a:p>
        </p:txBody>
      </p:sp>
    </p:spTree>
    <p:extLst>
      <p:ext uri="{BB962C8B-B14F-4D97-AF65-F5344CB8AC3E}">
        <p14:creationId xmlns:p14="http://schemas.microsoft.com/office/powerpoint/2010/main" val="4048901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latin typeface="Proximus Bold"/>
              </a:rPr>
              <a:t>BERNARD</a:t>
            </a:r>
            <a:endParaRPr lang="en-US" sz="1100" b="1" u="sng"/>
          </a:p>
          <a:p>
            <a:pPr algn="l" rtl="0" fontAlgn="base">
              <a:lnSpc>
                <a:spcPts val="1376"/>
              </a:lnSpc>
              <a:buFont typeface="+mj-lt"/>
              <a:buAutoNum type="arabicPeriod"/>
            </a:pPr>
            <a:r>
              <a:rPr lang="en-US" sz="1100">
                <a:solidFill>
                  <a:srgbClr val="000000"/>
                </a:solidFill>
                <a:effectLst/>
                <a:latin typeface="Proximus Light" pitchFamily="2" charset="77"/>
              </a:rPr>
              <a:t>Tomorrow, our reality will be to offer connectivity from multiple players (PXS, JVs, Competitors) and to multiple ISP (open networks) </a:t>
            </a:r>
          </a:p>
          <a:p>
            <a:pPr algn="l" rtl="0" fontAlgn="base">
              <a:lnSpc>
                <a:spcPts val="1376"/>
              </a:lnSpc>
              <a:buFont typeface="+mj-lt"/>
              <a:buAutoNum type="arabicPeriod" startAt="2"/>
            </a:pPr>
            <a:r>
              <a:rPr lang="en-US" sz="1100">
                <a:solidFill>
                  <a:srgbClr val="000000"/>
                </a:solidFill>
                <a:effectLst/>
                <a:latin typeface="Proximus Light" pitchFamily="2" charset="77"/>
              </a:rPr>
              <a:t>Our portfolio of technologies will span across fiber, copper (still for several years), mobile but also HFC/Coax  </a:t>
            </a:r>
          </a:p>
          <a:p>
            <a:pPr algn="l" rtl="0" fontAlgn="base">
              <a:lnSpc>
                <a:spcPts val="1376"/>
              </a:lnSpc>
              <a:buFont typeface="+mj-lt"/>
              <a:buAutoNum type="arabicPeriod" startAt="3"/>
            </a:pPr>
            <a:r>
              <a:rPr lang="en-US" sz="1100">
                <a:solidFill>
                  <a:srgbClr val="000000"/>
                </a:solidFill>
                <a:effectLst/>
                <a:latin typeface="Proximus Light" pitchFamily="2" charset="77"/>
              </a:rPr>
              <a:t>Despite this broad diversity of assets, we ambition to offer a harmonized experience to our customers  </a:t>
            </a:r>
          </a:p>
          <a:p>
            <a:pPr algn="l" rtl="0" fontAlgn="base">
              <a:lnSpc>
                <a:spcPts val="1376"/>
              </a:lnSpc>
              <a:buFont typeface="+mj-lt"/>
              <a:buAutoNum type="arabicPeriod" startAt="4"/>
            </a:pPr>
            <a:r>
              <a:rPr lang="en-US" sz="1100">
                <a:solidFill>
                  <a:srgbClr val="111111"/>
                </a:solidFill>
                <a:effectLst/>
                <a:latin typeface="Proximus Light" pitchFamily="2" charset="77"/>
              </a:rPr>
              <a:t>Proximus aims to provide its own ‘operate and maintain’ services on the consolidated fiber footprint (both stand-alone and JV) and will collaborate with partners when necessary. The creation of a super-NOC will support intervention efficiency. </a:t>
            </a:r>
            <a:endParaRPr lang="en-US" sz="1100">
              <a:solidFill>
                <a:srgbClr val="000000"/>
              </a:solidFill>
              <a:effectLst/>
              <a:latin typeface="Proximus Light" pitchFamily="2" charset="77"/>
            </a:endParaRPr>
          </a:p>
          <a:p>
            <a:endParaRPr lang="fr-BE" sz="400"/>
          </a:p>
          <a:p>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985071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E17FC-3E22-464F-B8BF-300EC09BE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1627A-0FD4-97B4-CEEB-D48E926C48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F2D805-F2C4-D5EF-CB38-2F38D8D6ADA6}"/>
              </a:ext>
            </a:extLst>
          </p:cNvPr>
          <p:cNvSpPr>
            <a:spLocks noGrp="1"/>
          </p:cNvSpPr>
          <p:nvPr>
            <p:ph type="body" idx="1"/>
          </p:nvPr>
        </p:nvSpPr>
        <p:spPr/>
        <p:txBody>
          <a:bodyPr/>
          <a:lstStyle/>
          <a:p>
            <a:r>
              <a:rPr lang="en-BE" sz="500" b="1" u="sng">
                <a:latin typeface="Proximus Bold"/>
              </a:rPr>
              <a:t>BERNARD</a:t>
            </a:r>
            <a:endParaRPr lang="en-BE" b="1" u="sng"/>
          </a:p>
        </p:txBody>
      </p:sp>
      <p:sp>
        <p:nvSpPr>
          <p:cNvPr id="4" name="Slide Number Placeholder 3">
            <a:extLst>
              <a:ext uri="{FF2B5EF4-FFF2-40B4-BE49-F238E27FC236}">
                <a16:creationId xmlns:a16="http://schemas.microsoft.com/office/drawing/2014/main" id="{D9BCF575-D1F3-F8D4-03A0-14052E976270}"/>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347021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a:ea typeface="Aptos" panose="020B0004020202020204" pitchFamily="34" charset="0"/>
                <a:cs typeface="Arial" panose="020B0604020202020204" pitchFamily="34" charset="0"/>
              </a:rPr>
              <a:t>MAGALI </a:t>
            </a:r>
            <a:r>
              <a:rPr lang="en-US" sz="1100" u="sng" kern="100" dirty="0">
                <a:solidFill>
                  <a:srgbClr val="C04F15"/>
                </a:solidFill>
                <a:effectLst/>
                <a:latin typeface="Proximus Light"/>
                <a:ea typeface="Aptos" panose="020B0004020202020204" pitchFamily="34" charset="0"/>
                <a:cs typeface="Arial" panose="020B0604020202020204" pitchFamily="34" charset="0"/>
              </a:rPr>
              <a:t>on stage </a:t>
            </a:r>
          </a:p>
          <a:p>
            <a:endParaRPr lang="en-US" sz="1100" b="1" dirty="0"/>
          </a:p>
          <a:p>
            <a:pPr>
              <a:defRPr/>
            </a:pPr>
            <a:r>
              <a:rPr lang="en-US" sz="1100" b="1" u="sng" dirty="0">
                <a:latin typeface="Proximus Bold"/>
              </a:rPr>
              <a:t>MAGALI </a:t>
            </a:r>
            <a:r>
              <a:rPr lang="en-US" sz="1100" b="1" dirty="0">
                <a:latin typeface="Proximus Bold"/>
              </a:rPr>
              <a:t>: </a:t>
            </a:r>
            <a:r>
              <a:rPr lang="en-US" sz="1100" b="0" dirty="0">
                <a:latin typeface="Proximus Bold"/>
              </a:rPr>
              <a:t>merci beaucoup à </a:t>
            </a:r>
            <a:r>
              <a:rPr lang="en-US" sz="1100" b="0" dirty="0" err="1">
                <a:latin typeface="Proximus Bold"/>
              </a:rPr>
              <a:t>vous</a:t>
            </a:r>
            <a:r>
              <a:rPr lang="en-US" sz="1100" b="0" dirty="0">
                <a:latin typeface="Proximus Bold"/>
              </a:rPr>
              <a:t> 4</a:t>
            </a:r>
            <a:r>
              <a:rPr lang="en-US" sz="1100" dirty="0">
                <a:latin typeface="Proximus Bold"/>
              </a:rPr>
              <a:t> de nous </a:t>
            </a:r>
            <a:r>
              <a:rPr lang="en-US" sz="1100" dirty="0" err="1">
                <a:latin typeface="Proximus Bold"/>
              </a:rPr>
              <a:t>avoir</a:t>
            </a:r>
            <a:r>
              <a:rPr lang="en-US" sz="1100" dirty="0">
                <a:latin typeface="Proximus Bold"/>
              </a:rPr>
              <a:t> </a:t>
            </a:r>
            <a:r>
              <a:rPr lang="en-US" sz="1100" dirty="0" err="1">
                <a:latin typeface="Proximus Bold"/>
              </a:rPr>
              <a:t>expliqué</a:t>
            </a:r>
            <a:r>
              <a:rPr lang="en-US" sz="1100" dirty="0">
                <a:latin typeface="Proximus Bold"/>
              </a:rPr>
              <a:t> comment </a:t>
            </a:r>
            <a:r>
              <a:rPr lang="en-US" sz="1100" dirty="0" err="1">
                <a:latin typeface="Proximus Bold"/>
              </a:rPr>
              <a:t>offrir</a:t>
            </a:r>
            <a:r>
              <a:rPr lang="en-US" sz="1100" dirty="0">
                <a:latin typeface="Proximus Bold"/>
              </a:rPr>
              <a:t> la </a:t>
            </a:r>
            <a:r>
              <a:rPr lang="en-US" sz="1100" dirty="0" err="1">
                <a:latin typeface="Proximus Bold"/>
              </a:rPr>
              <a:t>meilleure</a:t>
            </a:r>
            <a:r>
              <a:rPr lang="en-US" sz="1100" dirty="0">
                <a:latin typeface="Proximus Bold"/>
              </a:rPr>
              <a:t> </a:t>
            </a:r>
            <a:r>
              <a:rPr lang="en-US" sz="1100" dirty="0" err="1">
                <a:latin typeface="Proximus Bold"/>
              </a:rPr>
              <a:t>expérience</a:t>
            </a:r>
            <a:r>
              <a:rPr lang="en-US" sz="1100" dirty="0">
                <a:latin typeface="Proximus Bold"/>
              </a:rPr>
              <a:t> réseau à </a:t>
            </a:r>
            <a:r>
              <a:rPr lang="en-US" sz="1100" dirty="0" err="1">
                <a:latin typeface="Proximus Bold"/>
              </a:rPr>
              <a:t>nos</a:t>
            </a:r>
            <a:r>
              <a:rPr lang="en-US" sz="1100" dirty="0">
                <a:latin typeface="Proximus Bold"/>
              </a:rPr>
              <a:t> clients, peu </a:t>
            </a:r>
            <a:r>
              <a:rPr lang="en-US" sz="1100" dirty="0" err="1">
                <a:latin typeface="Proximus Bold"/>
              </a:rPr>
              <a:t>importe</a:t>
            </a:r>
            <a:r>
              <a:rPr lang="en-US" sz="1100" dirty="0">
                <a:latin typeface="Proximus Bold"/>
              </a:rPr>
              <a:t> la </a:t>
            </a:r>
            <a:r>
              <a:rPr lang="en-US" sz="1100" dirty="0" err="1">
                <a:latin typeface="Proximus Bold"/>
              </a:rPr>
              <a:t>technologie</a:t>
            </a:r>
            <a:r>
              <a:rPr lang="en-US" sz="1100" dirty="0">
                <a:latin typeface="Proximus Bold"/>
              </a:rPr>
              <a:t> et par qui </a:t>
            </a:r>
            <a:r>
              <a:rPr lang="en-US" sz="1100" dirty="0" err="1">
                <a:latin typeface="Proximus Bold"/>
              </a:rPr>
              <a:t>elle</a:t>
            </a:r>
            <a:r>
              <a:rPr lang="en-US" sz="1100" dirty="0">
                <a:latin typeface="Proximus Bold"/>
              </a:rPr>
              <a:t> </a:t>
            </a:r>
            <a:r>
              <a:rPr lang="en-US" sz="1100" dirty="0" err="1">
                <a:latin typeface="Proximus Bold"/>
              </a:rPr>
              <a:t>est</a:t>
            </a:r>
            <a:r>
              <a:rPr lang="en-US" sz="1100" dirty="0">
                <a:latin typeface="Proximus Bold"/>
              </a:rPr>
              <a:t> </a:t>
            </a:r>
            <a:r>
              <a:rPr lang="en-US" sz="1100" dirty="0" err="1">
                <a:latin typeface="Proximus Bold"/>
              </a:rPr>
              <a:t>déployée</a:t>
            </a:r>
            <a:r>
              <a:rPr lang="en-US" sz="1100" dirty="0">
                <a:latin typeface="Proximus Bold"/>
              </a:rPr>
              <a:t>. </a:t>
            </a:r>
            <a:r>
              <a:rPr lang="en-US" sz="1100" dirty="0" err="1">
                <a:latin typeface="Proximus Bold"/>
              </a:rPr>
              <a:t>Passons</a:t>
            </a:r>
            <a:r>
              <a:rPr lang="en-US" sz="1100" dirty="0">
                <a:latin typeface="Proximus Bold"/>
              </a:rPr>
              <a:t> à </a:t>
            </a:r>
            <a:r>
              <a:rPr lang="en-US" sz="1100" dirty="0" err="1">
                <a:latin typeface="Proximus Bold"/>
              </a:rPr>
              <a:t>présent</a:t>
            </a:r>
            <a:r>
              <a:rPr lang="en-US" sz="1100" dirty="0">
                <a:latin typeface="Proximus Bold"/>
              </a:rPr>
              <a:t> au 2ème </a:t>
            </a:r>
            <a:r>
              <a:rPr lang="en-US" sz="1100" dirty="0" err="1">
                <a:latin typeface="Proximus Bold"/>
              </a:rPr>
              <a:t>pillier</a:t>
            </a:r>
            <a:r>
              <a:rPr lang="en-US" sz="1100" dirty="0">
                <a:latin typeface="Proximus Bold"/>
              </a:rPr>
              <a:t> de </a:t>
            </a:r>
            <a:r>
              <a:rPr lang="en-US" sz="1100" dirty="0" err="1">
                <a:latin typeface="Proximus Bold"/>
              </a:rPr>
              <a:t>notre</a:t>
            </a:r>
            <a:r>
              <a:rPr lang="en-US" sz="1100" dirty="0">
                <a:latin typeface="Proximus Bold"/>
              </a:rPr>
              <a:t> </a:t>
            </a:r>
            <a:r>
              <a:rPr lang="en-US" sz="1100" dirty="0" err="1">
                <a:latin typeface="Proximus Bold"/>
              </a:rPr>
              <a:t>stratégie</a:t>
            </a:r>
            <a:r>
              <a:rPr lang="en-US" sz="1100" dirty="0">
                <a:latin typeface="Proximus Bold"/>
              </a:rPr>
              <a:t> 4.0 : “Bold Efficiency”. Vincent, </a:t>
            </a:r>
            <a:r>
              <a:rPr lang="en-US" sz="1100" dirty="0" err="1">
                <a:latin typeface="Proximus Bold"/>
              </a:rPr>
              <a:t>ce</a:t>
            </a:r>
            <a:r>
              <a:rPr lang="en-US" sz="1100" dirty="0">
                <a:latin typeface="Proximus Bold"/>
              </a:rPr>
              <a:t> </a:t>
            </a:r>
            <a:r>
              <a:rPr lang="en-US" sz="1100" dirty="0" err="1">
                <a:latin typeface="Proximus Bold"/>
              </a:rPr>
              <a:t>n'est</a:t>
            </a:r>
            <a:r>
              <a:rPr lang="en-US" sz="1100" dirty="0">
                <a:latin typeface="Proximus Bold"/>
              </a:rPr>
              <a:t> pas encore </a:t>
            </a:r>
            <a:r>
              <a:rPr lang="en-US" sz="1100" dirty="0" err="1">
                <a:latin typeface="Proximus Bold"/>
              </a:rPr>
              <a:t>fini</a:t>
            </a:r>
            <a:r>
              <a:rPr lang="en-US" sz="1100" dirty="0">
                <a:latin typeface="Proximus Bold"/>
              </a:rPr>
              <a:t> pour </a:t>
            </a:r>
            <a:r>
              <a:rPr lang="en-US" sz="1100" dirty="0" err="1">
                <a:latin typeface="Proximus Bold"/>
              </a:rPr>
              <a:t>toi</a:t>
            </a:r>
            <a:r>
              <a:rPr lang="en-US" sz="1100" dirty="0">
                <a:latin typeface="Proximus Bold"/>
              </a:rPr>
              <a:t>, </a:t>
            </a:r>
            <a:r>
              <a:rPr lang="en-US" sz="1100" dirty="0" err="1">
                <a:latin typeface="Proximus Bold"/>
              </a:rPr>
              <a:t>tu</a:t>
            </a:r>
            <a:r>
              <a:rPr lang="en-US" sz="1100" dirty="0">
                <a:latin typeface="Proximus Bold"/>
              </a:rPr>
              <a:t> </a:t>
            </a:r>
            <a:r>
              <a:rPr lang="en-US" sz="1100" dirty="0" err="1">
                <a:latin typeface="Proximus Bold"/>
              </a:rPr>
              <a:t>peux</a:t>
            </a:r>
            <a:r>
              <a:rPr lang="en-US" sz="1100" dirty="0">
                <a:latin typeface="Proximus Bold"/>
              </a:rPr>
              <a:t> </a:t>
            </a:r>
            <a:r>
              <a:rPr lang="en-US" sz="1100" dirty="0" err="1">
                <a:latin typeface="Proximus Bold"/>
              </a:rPr>
              <a:t>rester</a:t>
            </a:r>
            <a:r>
              <a:rPr lang="en-US" sz="1100" dirty="0">
                <a:latin typeface="Proximus Bold"/>
              </a:rPr>
              <a:t> avec nous. </a:t>
            </a:r>
            <a:r>
              <a:rPr lang="en-US" sz="1100" dirty="0" err="1">
                <a:latin typeface="Proximus Bold"/>
              </a:rPr>
              <a:t>J'invite</a:t>
            </a:r>
            <a:r>
              <a:rPr lang="en-US" sz="1100" dirty="0">
                <a:latin typeface="Proximus Bold"/>
              </a:rPr>
              <a:t> </a:t>
            </a:r>
            <a:r>
              <a:rPr lang="en-US" sz="1100" dirty="0" err="1">
                <a:latin typeface="Proximus Bold"/>
              </a:rPr>
              <a:t>également</a:t>
            </a:r>
            <a:r>
              <a:rPr lang="en-US" sz="1100" dirty="0">
                <a:latin typeface="Proximus Bold"/>
              </a:rPr>
              <a:t> Patrick (Network and Operation Division Lead – NEO) à nous </a:t>
            </a:r>
            <a:r>
              <a:rPr lang="en-US" sz="1100" dirty="0" err="1">
                <a:latin typeface="Proximus Bold"/>
              </a:rPr>
              <a:t>rejoindre</a:t>
            </a:r>
            <a:r>
              <a:rPr lang="en-US" sz="1100" dirty="0">
                <a:latin typeface="Proximus Bold"/>
              </a:rPr>
              <a:t>. </a:t>
            </a:r>
          </a:p>
          <a:p>
            <a:endParaRPr lang="en-US" sz="1100" b="0" dirty="0"/>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dirty="0">
                <a:latin typeface="Proximus Bold"/>
              </a:rPr>
              <a:t>(SWITCH</a:t>
            </a:r>
            <a:r>
              <a:rPr lang="en-US" sz="1100" dirty="0">
                <a:latin typeface="Proximus Bold"/>
              </a:rPr>
              <a:t> (Vincent remains on stage, Gaetan, Bernard &amp; Jo out, Patrick on stage)</a:t>
            </a:r>
          </a:p>
        </p:txBody>
      </p:sp>
      <p:sp>
        <p:nvSpPr>
          <p:cNvPr id="4" name="Slide Number Placeholder 3"/>
          <p:cNvSpPr>
            <a:spLocks noGrp="1"/>
          </p:cNvSpPr>
          <p:nvPr>
            <p:ph type="sldNum" sz="quarter" idx="5"/>
          </p:nvPr>
        </p:nvSpPr>
        <p:spPr/>
        <p:txBody>
          <a:bodyPr/>
          <a:lstStyle/>
          <a:p>
            <a:fld id="{FA918F22-1231-AB43-96E7-2B8B890DCD5E}" type="slidenum">
              <a:rPr lang="en-US" smtClean="0"/>
              <a:pPr/>
              <a:t>25</a:t>
            </a:fld>
            <a:endParaRPr lang="en-US"/>
          </a:p>
        </p:txBody>
      </p:sp>
    </p:spTree>
    <p:extLst>
      <p:ext uri="{BB962C8B-B14F-4D97-AF65-F5344CB8AC3E}">
        <p14:creationId xmlns:p14="http://schemas.microsoft.com/office/powerpoint/2010/main" val="844432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D6C45-1972-990B-AC0C-D22B3A7C7F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E59987-15CA-DFD8-A5FB-5065FAE63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45E212-70F5-065B-18CA-EFC241052A9A}"/>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1"/>
          </a:p>
          <a:p>
            <a:pPr>
              <a:defRPr/>
            </a:pPr>
            <a:r>
              <a:rPr lang="en-US" sz="1100" b="1" u="sng">
                <a:latin typeface="Proximus Bold"/>
              </a:rPr>
              <a:t>MAGALI </a:t>
            </a:r>
            <a:r>
              <a:rPr lang="en-US" sz="1100" b="1">
                <a:latin typeface="Proximus Bold"/>
              </a:rPr>
              <a:t>: </a:t>
            </a:r>
            <a:r>
              <a:rPr lang="en-US" sz="1100">
                <a:latin typeface="Proximus Bold"/>
              </a:rPr>
              <a:t>: “Bold Efficiency” </a:t>
            </a:r>
            <a:r>
              <a:rPr lang="en-US" sz="1100" err="1">
                <a:latin typeface="Proximus Bold"/>
              </a:rPr>
              <a:t>comprend</a:t>
            </a:r>
            <a:r>
              <a:rPr lang="en-US" sz="1100">
                <a:latin typeface="Proximus Bold"/>
              </a:rPr>
              <a:t> 4 parties. Vincent je </a:t>
            </a:r>
            <a:r>
              <a:rPr lang="en-US" sz="1100" err="1">
                <a:latin typeface="Proximus Bold"/>
              </a:rPr>
              <a:t>pense</a:t>
            </a:r>
            <a:r>
              <a:rPr lang="en-US" sz="1100">
                <a:latin typeface="Proximus Bold"/>
              </a:rPr>
              <a:t> que </a:t>
            </a:r>
            <a:r>
              <a:rPr lang="en-US" sz="1100" err="1">
                <a:latin typeface="Proximus Bold"/>
              </a:rPr>
              <a:t>c’est</a:t>
            </a:r>
            <a:r>
              <a:rPr lang="en-US" sz="1100">
                <a:latin typeface="Proximus Bold"/>
              </a:rPr>
              <a:t> </a:t>
            </a:r>
            <a:r>
              <a:rPr lang="en-US" sz="1100" err="1">
                <a:latin typeface="Proximus Bold"/>
              </a:rPr>
              <a:t>toi</a:t>
            </a:r>
            <a:r>
              <a:rPr lang="en-US" sz="1100">
                <a:latin typeface="Proximus Bold"/>
              </a:rPr>
              <a:t> qui comment avec la </a:t>
            </a:r>
            <a:r>
              <a:rPr lang="en-US" sz="1100" err="1">
                <a:latin typeface="Proximus Bold"/>
              </a:rPr>
              <a:t>partie</a:t>
            </a:r>
            <a:r>
              <a:rPr lang="en-US" sz="1100">
                <a:latin typeface="Proximus Bold"/>
              </a:rPr>
              <a:t> Automation &amp; AI</a:t>
            </a:r>
          </a:p>
          <a:p>
            <a:endParaRPr lang="en-BE"/>
          </a:p>
        </p:txBody>
      </p:sp>
      <p:sp>
        <p:nvSpPr>
          <p:cNvPr id="4" name="Slide Number Placeholder 3">
            <a:extLst>
              <a:ext uri="{FF2B5EF4-FFF2-40B4-BE49-F238E27FC236}">
                <a16:creationId xmlns:a16="http://schemas.microsoft.com/office/drawing/2014/main" id="{2A661CF1-CEF8-657B-54DA-1D018D1ABF1D}"/>
              </a:ext>
            </a:extLst>
          </p:cNvPr>
          <p:cNvSpPr>
            <a:spLocks noGrp="1"/>
          </p:cNvSpPr>
          <p:nvPr>
            <p:ph type="sldNum" sz="quarter" idx="5"/>
          </p:nvPr>
        </p:nvSpPr>
        <p:spPr/>
        <p:txBody>
          <a:bodyPr/>
          <a:lstStyle/>
          <a:p>
            <a:fld id="{FA918F22-1231-AB43-96E7-2B8B890DCD5E}" type="slidenum">
              <a:rPr lang="en-US" smtClean="0"/>
              <a:pPr/>
              <a:t>26</a:t>
            </a:fld>
            <a:endParaRPr lang="en-US"/>
          </a:p>
        </p:txBody>
      </p:sp>
    </p:spTree>
    <p:extLst>
      <p:ext uri="{BB962C8B-B14F-4D97-AF65-F5344CB8AC3E}">
        <p14:creationId xmlns:p14="http://schemas.microsoft.com/office/powerpoint/2010/main" val="735087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pPr>
            <a:r>
              <a:rPr lang="en-US" sz="1100" b="1" u="sng" kern="100">
                <a:latin typeface="Proximus Light"/>
                <a:ea typeface="Aptos" panose="020B0004020202020204" pitchFamily="34" charset="0"/>
                <a:cs typeface="Arial" panose="020B0604020202020204" pitchFamily="34" charset="0"/>
              </a:rPr>
              <a:t>VINCENT</a:t>
            </a:r>
            <a:endParaRPr lang="en-US" sz="1100" b="1" u="sng" kern="100">
              <a:effectLst/>
              <a:latin typeface="Proximus Light"/>
              <a:ea typeface="Aptos" panose="020B0004020202020204" pitchFamily="34" charset="0"/>
              <a:cs typeface="Arial" panose="020B0604020202020204" pitchFamily="34" charset="0"/>
            </a:endParaRPr>
          </a:p>
          <a:p>
            <a:pPr marL="342900" lvl="0" indent="-342900" rtl="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I and automation </a:t>
            </a:r>
            <a:r>
              <a:rPr lang="en-US" sz="1100" b="1" kern="100">
                <a:effectLst/>
                <a:latin typeface="Aptos" panose="020B0004020202020204" pitchFamily="34" charset="0"/>
                <a:ea typeface="Aptos" panose="020B0004020202020204" pitchFamily="34" charset="0"/>
                <a:cs typeface="Arial" panose="020B0604020202020204" pitchFamily="34" charset="0"/>
              </a:rPr>
              <a:t>help improving our efficiency</a:t>
            </a:r>
            <a:r>
              <a:rPr lang="en-US" sz="1100" kern="100">
                <a:effectLst/>
                <a:latin typeface="Aptos" panose="020B0004020202020204" pitchFamily="34" charset="0"/>
                <a:ea typeface="Aptos" panose="020B0004020202020204" pitchFamily="34" charset="0"/>
                <a:cs typeface="Arial" panose="020B0604020202020204" pitchFamily="34" charset="0"/>
              </a:rPr>
              <a:t> together with </a:t>
            </a:r>
            <a:r>
              <a:rPr lang="en-US" sz="1100" b="1" kern="100">
                <a:effectLst/>
                <a:latin typeface="Aptos" panose="020B0004020202020204" pitchFamily="34" charset="0"/>
                <a:ea typeface="Aptos" panose="020B0004020202020204" pitchFamily="34" charset="0"/>
                <a:cs typeface="Arial" panose="020B0604020202020204" pitchFamily="34" charset="0"/>
              </a:rPr>
              <a:t>better customer experience</a:t>
            </a:r>
            <a:r>
              <a:rPr lang="en-US" sz="1100" kern="100">
                <a:effectLst/>
                <a:latin typeface="Aptos" panose="020B0004020202020204" pitchFamily="34" charset="0"/>
                <a:ea typeface="Aptos" panose="020B0004020202020204" pitchFamily="34" charset="0"/>
                <a:cs typeface="Arial" panose="020B0604020202020204" pitchFamily="34" charset="0"/>
              </a:rPr>
              <a:t>. It is central to our strategy</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We see plenty of opportunities to </a:t>
            </a:r>
            <a:r>
              <a:rPr lang="en-US" sz="1100" b="1" kern="100">
                <a:effectLst/>
                <a:latin typeface="Aptos" panose="020B0004020202020204" pitchFamily="34" charset="0"/>
                <a:ea typeface="Aptos" panose="020B0004020202020204" pitchFamily="34" charset="0"/>
                <a:cs typeface="Arial" panose="020B0604020202020204" pitchFamily="34" charset="0"/>
              </a:rPr>
              <a:t>improve our operate and maintain activities in the fiber</a:t>
            </a:r>
            <a:r>
              <a:rPr lang="en-US" sz="1100" kern="100">
                <a:effectLst/>
                <a:latin typeface="Aptos" panose="020B0004020202020204" pitchFamily="34" charset="0"/>
                <a:ea typeface="Aptos" panose="020B0004020202020204" pitchFamily="34" charset="0"/>
                <a:cs typeface="Arial" panose="020B0604020202020204" pitchFamily="34" charset="0"/>
              </a:rPr>
              <a:t> field. A comprehensive roadmap has been built (called </a:t>
            </a:r>
            <a:r>
              <a:rPr lang="en-US" sz="1100" b="1" kern="100">
                <a:effectLst/>
                <a:latin typeface="Aptos" panose="020B0004020202020204" pitchFamily="34" charset="0"/>
                <a:ea typeface="Aptos" panose="020B0004020202020204" pitchFamily="34" charset="0"/>
                <a:cs typeface="Arial" panose="020B0604020202020204" pitchFamily="34" charset="0"/>
              </a:rPr>
              <a:t>FRIDA    : Fiber Repair Intelligent Digital Assistant</a:t>
            </a:r>
            <a:r>
              <a:rPr lang="en-US" sz="1100" kern="100">
                <a:effectLst/>
                <a:latin typeface="Aptos" panose="020B0004020202020204" pitchFamily="34" charset="0"/>
                <a:ea typeface="Aptos" panose="020B0004020202020204" pitchFamily="34" charset="0"/>
                <a:cs typeface="Arial" panose="020B0604020202020204" pitchFamily="34" charset="0"/>
              </a:rPr>
              <a:t>) to address step-by-step each stage of the process end-to-end and to </a:t>
            </a:r>
            <a:r>
              <a:rPr lang="en-US" sz="1100" b="1" kern="100">
                <a:effectLst/>
                <a:latin typeface="Aptos" panose="020B0004020202020204" pitchFamily="34" charset="0"/>
                <a:ea typeface="Aptos" panose="020B0004020202020204" pitchFamily="34" charset="0"/>
                <a:cs typeface="Arial" panose="020B0604020202020204" pitchFamily="34" charset="0"/>
              </a:rPr>
              <a:t>develop gradually a set of automation agents</a:t>
            </a:r>
            <a:r>
              <a:rPr lang="en-US" sz="1100" kern="100">
                <a:effectLst/>
                <a:latin typeface="Aptos" panose="020B0004020202020204" pitchFamily="34" charset="0"/>
                <a:ea typeface="Aptos" panose="020B0004020202020204" pitchFamily="34" charset="0"/>
                <a:cs typeface="Arial" panose="020B0604020202020204" pitchFamily="34" charset="0"/>
              </a:rPr>
              <a:t>, that will, in the future become more and more </a:t>
            </a:r>
            <a:r>
              <a:rPr lang="en-US" sz="1100" b="1" kern="100">
                <a:effectLst/>
                <a:latin typeface="Aptos" panose="020B0004020202020204" pitchFamily="34" charset="0"/>
                <a:ea typeface="Aptos" panose="020B0004020202020204" pitchFamily="34" charset="0"/>
                <a:cs typeface="Arial" panose="020B0604020202020204" pitchFamily="34" charset="0"/>
              </a:rPr>
              <a:t>autonomous</a:t>
            </a:r>
            <a:r>
              <a:rPr lang="en-US" sz="1100" kern="100">
                <a:effectLst/>
                <a:latin typeface="Aptos" panose="020B0004020202020204" pitchFamily="34" charset="0"/>
                <a:ea typeface="Aptos" panose="020B0004020202020204" pitchFamily="34" charset="0"/>
                <a:cs typeface="Arial" panose="020B0604020202020204" pitchFamily="34" charset="0"/>
              </a:rPr>
              <a:t>. The ambition is, in the mid term, to cover all fiber footprints, </a:t>
            </a:r>
            <a:r>
              <a:rPr lang="en-US" sz="1100" b="1" kern="100">
                <a:effectLst/>
                <a:latin typeface="Aptos" panose="020B0004020202020204" pitchFamily="34" charset="0"/>
                <a:ea typeface="Aptos" panose="020B0004020202020204" pitchFamily="34" charset="0"/>
                <a:cs typeface="Arial" panose="020B0604020202020204" pitchFamily="34" charset="0"/>
              </a:rPr>
              <a:t>both for prediction and anomaly detection</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 second focus is </a:t>
            </a:r>
            <a:r>
              <a:rPr lang="en-US" sz="1100" b="1" kern="100">
                <a:effectLst/>
                <a:latin typeface="Aptos" panose="020B0004020202020204" pitchFamily="34" charset="0"/>
                <a:ea typeface="Aptos" panose="020B0004020202020204" pitchFamily="34" charset="0"/>
                <a:cs typeface="Arial" panose="020B0604020202020204" pitchFamily="34" charset="0"/>
              </a:rPr>
              <a:t>to support the road to ‘dark NOC’</a:t>
            </a:r>
            <a:r>
              <a:rPr lang="en-US" sz="1100" kern="100">
                <a:effectLst/>
                <a:latin typeface="Aptos" panose="020B0004020202020204" pitchFamily="34" charset="0"/>
                <a:ea typeface="Aptos" panose="020B0004020202020204" pitchFamily="34" charset="0"/>
                <a:cs typeface="Arial" panose="020B0604020202020204" pitchFamily="34" charset="0"/>
              </a:rPr>
              <a:t>. The idea to develop an AI engine able to detect root causes issues through very large amounts of alerts and triggers and define impact and propose remedie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For mobile, </a:t>
            </a:r>
            <a:r>
              <a:rPr lang="en-US" sz="1100" b="1" kern="100">
                <a:effectLst/>
                <a:latin typeface="Aptos" panose="020B0004020202020204" pitchFamily="34" charset="0"/>
                <a:ea typeface="Aptos" panose="020B0004020202020204" pitchFamily="34" charset="0"/>
                <a:cs typeface="Arial" panose="020B0604020202020204" pitchFamily="34" charset="0"/>
              </a:rPr>
              <a:t>after a first wave of classical automation, we will define the best path to use AI for further automation</a:t>
            </a:r>
            <a:r>
              <a:rPr lang="en-US" sz="1100" kern="100">
                <a:effectLst/>
                <a:latin typeface="Aptos" panose="020B0004020202020204" pitchFamily="34" charset="0"/>
                <a:ea typeface="Aptos" panose="020B0004020202020204" pitchFamily="34" charset="0"/>
                <a:cs typeface="Arial" panose="020B0604020202020204" pitchFamily="34" charset="0"/>
              </a:rPr>
              <a:t>, improved customer experience (</a:t>
            </a:r>
            <a:r>
              <a:rPr lang="en-US" sz="1100" kern="100" err="1">
                <a:effectLst/>
                <a:latin typeface="Aptos" panose="020B0004020202020204" pitchFamily="34" charset="0"/>
                <a:ea typeface="Aptos" panose="020B0004020202020204" pitchFamily="34" charset="0"/>
                <a:cs typeface="Arial" panose="020B0604020202020204" pitchFamily="34" charset="0"/>
              </a:rPr>
              <a:t>optim</a:t>
            </a:r>
            <a:r>
              <a:rPr lang="en-US" sz="1100" kern="100">
                <a:effectLst/>
                <a:latin typeface="Aptos" panose="020B0004020202020204" pitchFamily="34" charset="0"/>
                <a:ea typeface="Aptos" panose="020B0004020202020204" pitchFamily="34" charset="0"/>
                <a:cs typeface="Arial" panose="020B0604020202020204" pitchFamily="34" charset="0"/>
              </a:rPr>
              <a:t>) and energy efficiency</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The accessibility of Gen AI will allow faster and broader technology adoption, we have already seen </a:t>
            </a:r>
            <a:r>
              <a:rPr lang="en-US" sz="1100" b="1" kern="100">
                <a:effectLst/>
                <a:latin typeface="Aptos" panose="020B0004020202020204" pitchFamily="34" charset="0"/>
                <a:ea typeface="Aptos" panose="020B0004020202020204" pitchFamily="34" charset="0"/>
                <a:cs typeface="Arial" panose="020B0604020202020204" pitchFamily="34" charset="0"/>
              </a:rPr>
              <a:t>promising results in knowledge management</a:t>
            </a:r>
            <a:r>
              <a:rPr lang="en-US" sz="1100" kern="100">
                <a:effectLst/>
                <a:latin typeface="Aptos" panose="020B0004020202020204" pitchFamily="34" charset="0"/>
                <a:ea typeface="Aptos" panose="020B0004020202020204" pitchFamily="34" charset="0"/>
                <a:cs typeface="Arial" panose="020B0604020202020204" pitchFamily="34" charset="0"/>
              </a:rPr>
              <a:t> domain (like Fiber GURU or RAVE) and will pursue this trac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spcAft>
                <a:spcPts val="800"/>
              </a:spcAft>
            </a:pPr>
            <a:endParaRPr lang="fr-BE" sz="1000" kern="100">
              <a:effectLst/>
              <a:latin typeface="Proximus Light" pitchFamily="2" charset="77"/>
              <a:ea typeface="Aptos" panose="020B0004020202020204" pitchFamily="34" charset="0"/>
              <a:cs typeface="Arial" panose="020B0604020202020204" pitchFamily="34" charset="0"/>
            </a:endParaRPr>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27</a:t>
            </a:fld>
            <a:endParaRPr lang="en-US"/>
          </a:p>
        </p:txBody>
      </p:sp>
    </p:spTree>
    <p:extLst>
      <p:ext uri="{BB962C8B-B14F-4D97-AF65-F5344CB8AC3E}">
        <p14:creationId xmlns:p14="http://schemas.microsoft.com/office/powerpoint/2010/main" val="3705353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36C50-2120-87A3-3876-5D9435F0D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0181AF-3778-01AC-0578-C9B18BB20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F4079-DCD9-B369-551B-0E7ECC9EA2F0}"/>
              </a:ext>
            </a:extLst>
          </p:cNvPr>
          <p:cNvSpPr>
            <a:spLocks noGrp="1"/>
          </p:cNvSpPr>
          <p:nvPr>
            <p:ph type="body" idx="1"/>
          </p:nvPr>
        </p:nvSpPr>
        <p:spPr/>
        <p:txBody>
          <a:bodyPr/>
          <a:lstStyle/>
          <a:p>
            <a:pPr>
              <a:lnSpc>
                <a:spcPct val="107000"/>
              </a:lnSpc>
              <a:spcAft>
                <a:spcPts val="800"/>
              </a:spcAft>
            </a:pPr>
            <a:r>
              <a:rPr lang="en-BE" sz="1100" kern="100">
                <a:effectLst/>
                <a:latin typeface="Aptos" panose="020B0004020202020204" pitchFamily="34" charset="0"/>
                <a:ea typeface="Aptos" panose="020B0004020202020204" pitchFamily="34" charset="0"/>
                <a:cs typeface="Arial" panose="020B0604020202020204" pitchFamily="34" charset="0"/>
              </a:rPr>
              <a:t>Our priorities for this year :</a:t>
            </a:r>
          </a:p>
          <a:p>
            <a:pPr marL="342900" lvl="0" indent="-342900">
              <a:lnSpc>
                <a:spcPct val="107000"/>
              </a:lnSpc>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Build the </a:t>
            </a:r>
            <a:r>
              <a:rPr lang="en-BE" sz="1100" b="1" kern="100">
                <a:effectLst/>
                <a:latin typeface="Aptos" panose="020B0004020202020204" pitchFamily="34" charset="0"/>
                <a:ea typeface="Aptos" panose="020B0004020202020204" pitchFamily="34" charset="0"/>
                <a:cs typeface="Arial" panose="020B0604020202020204" pitchFamily="34" charset="0"/>
              </a:rPr>
              <a:t>first cases of FRIDA</a:t>
            </a:r>
            <a:r>
              <a:rPr lang="en-BE" sz="1100" kern="100">
                <a:effectLst/>
                <a:latin typeface="Aptos" panose="020B0004020202020204" pitchFamily="34" charset="0"/>
                <a:ea typeface="Aptos" panose="020B0004020202020204" pitchFamily="34" charset="0"/>
                <a:cs typeface="Arial" panose="020B0604020202020204" pitchFamily="34" charset="0"/>
              </a:rPr>
              <a:t>, extending the existing </a:t>
            </a:r>
            <a:r>
              <a:rPr lang="en-BE" sz="1100" kern="100" err="1">
                <a:effectLst/>
                <a:latin typeface="Aptos" panose="020B0004020202020204" pitchFamily="34" charset="0"/>
                <a:ea typeface="Aptos" panose="020B0004020202020204" pitchFamily="34" charset="0"/>
                <a:cs typeface="Arial" panose="020B0604020202020204" pitchFamily="34" charset="0"/>
              </a:rPr>
              <a:t>fiber</a:t>
            </a:r>
            <a:r>
              <a:rPr lang="en-BE" sz="1100" kern="100">
                <a:effectLst/>
                <a:latin typeface="Aptos" panose="020B0004020202020204" pitchFamily="34" charset="0"/>
                <a:ea typeface="Aptos" panose="020B0004020202020204" pitchFamily="34" charset="0"/>
                <a:cs typeface="Arial" panose="020B0604020202020204" pitchFamily="34" charset="0"/>
              </a:rPr>
              <a:t> degradation MVPs to come to ‘next best action’</a:t>
            </a:r>
          </a:p>
          <a:p>
            <a:pPr marL="342900" lvl="0" indent="-342900">
              <a:lnSpc>
                <a:spcPct val="107000"/>
              </a:lnSpc>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In the NOC, </a:t>
            </a:r>
            <a:r>
              <a:rPr lang="en-BE" sz="1100" b="1" kern="100">
                <a:effectLst/>
                <a:latin typeface="Aptos" panose="020B0004020202020204" pitchFamily="34" charset="0"/>
                <a:ea typeface="Aptos" panose="020B0004020202020204" pitchFamily="34" charset="0"/>
                <a:cs typeface="Arial" panose="020B0604020202020204" pitchFamily="34" charset="0"/>
              </a:rPr>
              <a:t>develop the first MVP on transmission denoising</a:t>
            </a:r>
            <a:r>
              <a:rPr lang="en-BE" sz="1100" kern="100">
                <a:effectLst/>
                <a:latin typeface="Aptos" panose="020B0004020202020204" pitchFamily="34" charset="0"/>
                <a:ea typeface="Aptos" panose="020B0004020202020204" pitchFamily="34" charset="0"/>
                <a:cs typeface="Arial" panose="020B0604020202020204" pitchFamily="34" charset="0"/>
              </a:rPr>
              <a:t> (define the right elements to monitor in vast amounts of network data) </a:t>
            </a:r>
          </a:p>
          <a:p>
            <a:pPr marL="342900" lvl="0" indent="-342900">
              <a:lnSpc>
                <a:spcPct val="107000"/>
              </a:lnSpc>
              <a:spcAft>
                <a:spcPts val="800"/>
              </a:spcAft>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Perform a </a:t>
            </a:r>
            <a:r>
              <a:rPr lang="en-BE" sz="1100" b="1" kern="100">
                <a:effectLst/>
                <a:latin typeface="Aptos" panose="020B0004020202020204" pitchFamily="34" charset="0"/>
                <a:ea typeface="Aptos" panose="020B0004020202020204" pitchFamily="34" charset="0"/>
                <a:cs typeface="Arial" panose="020B0604020202020204" pitchFamily="34" charset="0"/>
              </a:rPr>
              <a:t>first layer of classical automation inside </a:t>
            </a:r>
            <a:r>
              <a:rPr lang="en-BE" sz="1100" b="1" kern="100" err="1">
                <a:effectLst/>
                <a:latin typeface="Aptos" panose="020B0004020202020204" pitchFamily="34" charset="0"/>
                <a:ea typeface="Aptos" panose="020B0004020202020204" pitchFamily="34" charset="0"/>
                <a:cs typeface="Arial" panose="020B0604020202020204" pitchFamily="34" charset="0"/>
              </a:rPr>
              <a:t>Mwingz</a:t>
            </a:r>
            <a:r>
              <a:rPr lang="en-BE" sz="1100" kern="100">
                <a:effectLst/>
                <a:latin typeface="Aptos" panose="020B0004020202020204" pitchFamily="34" charset="0"/>
                <a:ea typeface="Aptos" panose="020B0004020202020204" pitchFamily="34" charset="0"/>
                <a:cs typeface="Arial" panose="020B0604020202020204" pitchFamily="34" charset="0"/>
              </a:rPr>
              <a:t>, leveraging the new tool set and </a:t>
            </a:r>
            <a:r>
              <a:rPr lang="en-BE" sz="1100" b="1" kern="100">
                <a:effectLst/>
                <a:latin typeface="Aptos" panose="020B0004020202020204" pitchFamily="34" charset="0"/>
                <a:ea typeface="Aptos" panose="020B0004020202020204" pitchFamily="34" charset="0"/>
                <a:cs typeface="Arial" panose="020B0604020202020204" pitchFamily="34" charset="0"/>
              </a:rPr>
              <a:t>continue testing more advanced module to add AI/ML layer in second step</a:t>
            </a:r>
            <a:endParaRPr lang="en-BE" sz="11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B6468D3-1320-06DD-25FE-6AF54489AD0A}"/>
              </a:ext>
            </a:extLst>
          </p:cNvPr>
          <p:cNvSpPr>
            <a:spLocks noGrp="1"/>
          </p:cNvSpPr>
          <p:nvPr>
            <p:ph type="sldNum" sz="quarter" idx="5"/>
          </p:nvPr>
        </p:nvSpPr>
        <p:spPr/>
        <p:txBody>
          <a:bodyPr/>
          <a:lstStyle/>
          <a:p>
            <a:fld id="{FA918F22-1231-AB43-96E7-2B8B890DCD5E}" type="slidenum">
              <a:rPr lang="en-US" smtClean="0"/>
              <a:pPr/>
              <a:t>28</a:t>
            </a:fld>
            <a:endParaRPr lang="en-US"/>
          </a:p>
        </p:txBody>
      </p:sp>
    </p:spTree>
    <p:extLst>
      <p:ext uri="{BB962C8B-B14F-4D97-AF65-F5344CB8AC3E}">
        <p14:creationId xmlns:p14="http://schemas.microsoft.com/office/powerpoint/2010/main" val="33789742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t>VINCENT</a:t>
            </a:r>
          </a:p>
          <a:p>
            <a:r>
              <a:rPr lang="en-US" sz="1100"/>
              <a:t>Let’s discover together (</a:t>
            </a:r>
            <a:r>
              <a:rPr lang="en-US" sz="1100">
                <a:sym typeface="Wingdings" panose="05000000000000000000" pitchFamily="2" charset="2"/>
              </a:rPr>
              <a:t> video)</a:t>
            </a:r>
            <a:endParaRPr lang="fr-BE" sz="1100"/>
          </a:p>
        </p:txBody>
      </p:sp>
      <p:sp>
        <p:nvSpPr>
          <p:cNvPr id="4" name="Slide Number Placeholder 3"/>
          <p:cNvSpPr>
            <a:spLocks noGrp="1"/>
          </p:cNvSpPr>
          <p:nvPr>
            <p:ph type="sldNum" sz="quarter" idx="5"/>
          </p:nvPr>
        </p:nvSpPr>
        <p:spPr/>
        <p:txBody>
          <a:bodyPr/>
          <a:lstStyle/>
          <a:p>
            <a:fld id="{FA918F22-1231-AB43-96E7-2B8B890DCD5E}" type="slidenum">
              <a:rPr lang="en-US" smtClean="0"/>
              <a:pPr/>
              <a:t>29</a:t>
            </a:fld>
            <a:endParaRPr lang="en-US"/>
          </a:p>
        </p:txBody>
      </p:sp>
    </p:spTree>
    <p:extLst>
      <p:ext uri="{BB962C8B-B14F-4D97-AF65-F5344CB8AC3E}">
        <p14:creationId xmlns:p14="http://schemas.microsoft.com/office/powerpoint/2010/main" val="1292067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E19C5-D8EF-9CB2-85EF-8682A9B3BC9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3AB05D96-B3B8-A4AD-032E-8EAD2CC50645}"/>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a:solidFill>
                  <a:schemeClr val="accent6"/>
                </a:solidFill>
                <a:latin typeface="Proximus Bold"/>
              </a:rPr>
              <a:t>MAGALI &amp; ROBIN </a:t>
            </a:r>
            <a:r>
              <a:rPr lang="en-US" sz="1100">
                <a:solidFill>
                  <a:schemeClr val="accent6"/>
                </a:solidFill>
                <a:latin typeface="Proximus Bold"/>
              </a:rPr>
              <a:t>on stage</a:t>
            </a:r>
          </a:p>
          <a:p>
            <a:r>
              <a:rPr lang="en-US" sz="1100" b="1" u="sng">
                <a:solidFill>
                  <a:schemeClr val="accent6"/>
                </a:solidFill>
                <a:latin typeface="Proximus Bold"/>
              </a:rPr>
              <a:t>MAGALI </a:t>
            </a:r>
            <a:r>
              <a:rPr lang="en-US" sz="1100" b="1">
                <a:solidFill>
                  <a:schemeClr val="accent6"/>
                </a:solidFill>
                <a:latin typeface="Proximus Bold"/>
              </a:rPr>
              <a:t>: </a:t>
            </a:r>
            <a:r>
              <a:rPr lang="en-US" sz="1100">
                <a:solidFill>
                  <a:schemeClr val="accent6"/>
                </a:solidFill>
                <a:latin typeface="Proximus Bold"/>
              </a:rPr>
              <a:t>Et bien Robin, nous </a:t>
            </a:r>
            <a:r>
              <a:rPr lang="en-US" sz="1100" err="1">
                <a:solidFill>
                  <a:schemeClr val="accent6"/>
                </a:solidFill>
                <a:latin typeface="Proximus Bold"/>
              </a:rPr>
              <a:t>allons</a:t>
            </a:r>
            <a:r>
              <a:rPr lang="en-US" sz="1100">
                <a:solidFill>
                  <a:schemeClr val="accent6"/>
                </a:solidFill>
                <a:latin typeface="Proximus Bold"/>
              </a:rPr>
              <a:t> passer +/- 2h30 ensemble </a:t>
            </a:r>
            <a:r>
              <a:rPr lang="en-US" sz="1100" err="1">
                <a:solidFill>
                  <a:schemeClr val="accent6"/>
                </a:solidFill>
                <a:latin typeface="Proximus Bold"/>
              </a:rPr>
              <a:t>durant</a:t>
            </a:r>
            <a:r>
              <a:rPr lang="en-US" sz="1100">
                <a:solidFill>
                  <a:schemeClr val="accent6"/>
                </a:solidFill>
                <a:latin typeface="Proximus Bold"/>
              </a:rPr>
              <a:t> </a:t>
            </a:r>
            <a:r>
              <a:rPr lang="en-US" sz="1100" err="1">
                <a:solidFill>
                  <a:schemeClr val="accent6"/>
                </a:solidFill>
                <a:latin typeface="Proximus Bold"/>
              </a:rPr>
              <a:t>lesquelles</a:t>
            </a:r>
            <a:r>
              <a:rPr lang="en-US" sz="1100">
                <a:solidFill>
                  <a:schemeClr val="accent6"/>
                </a:solidFill>
                <a:latin typeface="Proximus Bold"/>
              </a:rPr>
              <a:t> Geert et son équipe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présenteront</a:t>
            </a:r>
            <a:r>
              <a:rPr lang="en-US" sz="1100">
                <a:solidFill>
                  <a:schemeClr val="accent6"/>
                </a:solidFill>
                <a:latin typeface="Proximus Bold"/>
              </a:rPr>
              <a:t> la </a:t>
            </a:r>
            <a:r>
              <a:rPr lang="en-US" sz="1100" err="1">
                <a:solidFill>
                  <a:schemeClr val="accent6"/>
                </a:solidFill>
                <a:latin typeface="Proximus Bold"/>
              </a:rPr>
              <a:t>stratégie</a:t>
            </a:r>
            <a:r>
              <a:rPr lang="en-US" sz="1100">
                <a:solidFill>
                  <a:schemeClr val="accent6"/>
                </a:solidFill>
                <a:latin typeface="Proximus Bold"/>
              </a:rPr>
              <a:t> NBU que nous </a:t>
            </a:r>
            <a:r>
              <a:rPr lang="en-US" sz="1100" err="1">
                <a:solidFill>
                  <a:schemeClr val="accent6"/>
                </a:solidFill>
                <a:latin typeface="Proximus Bold"/>
              </a:rPr>
              <a:t>avons</a:t>
            </a:r>
            <a:r>
              <a:rPr lang="en-US" sz="1100">
                <a:solidFill>
                  <a:schemeClr val="accent6"/>
                </a:solidFill>
                <a:latin typeface="Proximus Bold"/>
              </a:rPr>
              <a:t> </a:t>
            </a:r>
            <a:r>
              <a:rPr lang="en-US" sz="1100" err="1">
                <a:solidFill>
                  <a:schemeClr val="accent6"/>
                </a:solidFill>
                <a:latin typeface="Proximus Bold"/>
              </a:rPr>
              <a:t>appelée</a:t>
            </a:r>
            <a:r>
              <a:rPr lang="en-US" sz="1100">
                <a:solidFill>
                  <a:schemeClr val="accent6"/>
                </a:solidFill>
                <a:latin typeface="Proximus Bold"/>
              </a:rPr>
              <a:t> NBU4.0…Nom </a:t>
            </a:r>
            <a:r>
              <a:rPr lang="en-US" sz="1100" err="1">
                <a:solidFill>
                  <a:schemeClr val="accent6"/>
                </a:solidFill>
                <a:latin typeface="Proximus Bold"/>
              </a:rPr>
              <a:t>étrange</a:t>
            </a:r>
            <a:r>
              <a:rPr lang="en-US" sz="1100">
                <a:solidFill>
                  <a:schemeClr val="accent6"/>
                </a:solidFill>
                <a:latin typeface="Proximus Bold"/>
              </a:rPr>
              <a:t> </a:t>
            </a:r>
            <a:r>
              <a:rPr lang="en-US" sz="1100" err="1">
                <a:solidFill>
                  <a:schemeClr val="accent6"/>
                </a:solidFill>
                <a:latin typeface="Proximus Bold"/>
              </a:rPr>
              <a:t>hein</a:t>
            </a:r>
            <a:r>
              <a:rPr lang="en-US" sz="1100">
                <a:solidFill>
                  <a:schemeClr val="accent6"/>
                </a:solidFill>
                <a:latin typeface="Proximus Bold"/>
              </a:rPr>
              <a:t>… </a:t>
            </a:r>
            <a:r>
              <a:rPr lang="en-US" sz="1100" err="1">
                <a:solidFill>
                  <a:schemeClr val="accent6"/>
                </a:solidFill>
                <a:latin typeface="Proximus Bold"/>
              </a:rPr>
              <a:t>mais</a:t>
            </a:r>
            <a:r>
              <a:rPr lang="en-US" sz="1100">
                <a:solidFill>
                  <a:schemeClr val="accent6"/>
                </a:solidFill>
                <a:latin typeface="Proximus Bold"/>
              </a:rPr>
              <a:t>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découvrirez</a:t>
            </a:r>
            <a:r>
              <a:rPr lang="en-US" sz="1100">
                <a:solidFill>
                  <a:schemeClr val="accent6"/>
                </a:solidFill>
                <a:latin typeface="Proximus Bold"/>
              </a:rPr>
              <a:t> </a:t>
            </a:r>
            <a:r>
              <a:rPr lang="en-US" sz="1100" err="1">
                <a:solidFill>
                  <a:schemeClr val="accent6"/>
                </a:solidFill>
                <a:latin typeface="Proximus Bold"/>
              </a:rPr>
              <a:t>bientôt</a:t>
            </a:r>
            <a:r>
              <a:rPr lang="en-US" sz="1100">
                <a:solidFill>
                  <a:schemeClr val="accent6"/>
                </a:solidFill>
                <a:latin typeface="Proximus Bold"/>
              </a:rPr>
              <a:t> </a:t>
            </a:r>
            <a:r>
              <a:rPr lang="en-US" sz="1100" err="1">
                <a:solidFill>
                  <a:schemeClr val="accent6"/>
                </a:solidFill>
                <a:latin typeface="Proximus Bold"/>
              </a:rPr>
              <a:t>ce</a:t>
            </a:r>
            <a:r>
              <a:rPr lang="en-US" sz="1100">
                <a:solidFill>
                  <a:schemeClr val="accent6"/>
                </a:solidFill>
                <a:latin typeface="Proximus Bold"/>
              </a:rPr>
              <a:t> qui se cache derrière </a:t>
            </a:r>
            <a:r>
              <a:rPr lang="en-US" sz="1100" err="1">
                <a:solidFill>
                  <a:schemeClr val="accent6"/>
                </a:solidFill>
                <a:latin typeface="Proximus Bold"/>
              </a:rPr>
              <a:t>ce</a:t>
            </a:r>
            <a:r>
              <a:rPr lang="en-US" sz="1100">
                <a:solidFill>
                  <a:schemeClr val="accent6"/>
                </a:solidFill>
                <a:latin typeface="Proximus Bold"/>
              </a:rPr>
              <a:t> nom.</a:t>
            </a:r>
          </a:p>
          <a:p>
            <a:r>
              <a:rPr lang="en-US" sz="1100" err="1">
                <a:solidFill>
                  <a:schemeClr val="accent6"/>
                </a:solidFill>
                <a:latin typeface="Proximus Bold"/>
              </a:rPr>
              <a:t>Voici</a:t>
            </a:r>
            <a:r>
              <a:rPr lang="en-US" sz="1100">
                <a:solidFill>
                  <a:schemeClr val="accent6"/>
                </a:solidFill>
                <a:latin typeface="Proximus Bold"/>
              </a:rPr>
              <a:t> comment se </a:t>
            </a:r>
            <a:r>
              <a:rPr lang="en-US" sz="1100" err="1">
                <a:solidFill>
                  <a:schemeClr val="accent6"/>
                </a:solidFill>
                <a:latin typeface="Proximus Bold"/>
              </a:rPr>
              <a:t>déroulera</a:t>
            </a:r>
            <a:r>
              <a:rPr lang="en-US" sz="1100">
                <a:solidFill>
                  <a:schemeClr val="accent6"/>
                </a:solidFill>
                <a:latin typeface="Proximus Bold"/>
              </a:rPr>
              <a:t> </a:t>
            </a:r>
            <a:r>
              <a:rPr lang="en-US" sz="1100" err="1">
                <a:solidFill>
                  <a:schemeClr val="accent6"/>
                </a:solidFill>
                <a:latin typeface="Proximus Bold"/>
              </a:rPr>
              <a:t>cet</a:t>
            </a:r>
            <a:r>
              <a:rPr lang="en-US" sz="1100">
                <a:solidFill>
                  <a:schemeClr val="accent6"/>
                </a:solidFill>
                <a:latin typeface="Proximus Bold"/>
              </a:rPr>
              <a:t> après-midi:</a:t>
            </a:r>
            <a:r>
              <a:rPr lang="fr-BE" sz="1100">
                <a:solidFill>
                  <a:schemeClr val="accent6"/>
                </a:solidFill>
                <a:latin typeface="Proximus Bold"/>
              </a:rPr>
              <a:t> après une courte introduction de Geert </a:t>
            </a:r>
            <a:r>
              <a:rPr lang="fr-BE" sz="1100" err="1">
                <a:solidFill>
                  <a:schemeClr val="accent6"/>
                </a:solidFill>
                <a:latin typeface="Proximus Bold"/>
              </a:rPr>
              <a:t>Standaert</a:t>
            </a:r>
            <a:r>
              <a:rPr lang="fr-BE" sz="1100">
                <a:solidFill>
                  <a:schemeClr val="accent6"/>
                </a:solidFill>
                <a:latin typeface="Proximus Bold"/>
              </a:rPr>
              <a:t>, nous plongerons dans le 1ere partie de la Stratégie 4.0 de NBU. Avant de découvrir la 2</a:t>
            </a:r>
            <a:r>
              <a:rPr lang="fr-BE" sz="1100" baseline="30000">
                <a:solidFill>
                  <a:schemeClr val="accent6"/>
                </a:solidFill>
                <a:latin typeface="Proximus Bold"/>
              </a:rPr>
              <a:t>ème</a:t>
            </a:r>
            <a:r>
              <a:rPr lang="fr-BE" sz="1100">
                <a:solidFill>
                  <a:schemeClr val="accent6"/>
                </a:solidFill>
                <a:latin typeface="Proximus Bold"/>
              </a:rPr>
              <a:t> partie, nous aurons la chance d’accueillir Geert Van Mol pour un </a:t>
            </a:r>
            <a:r>
              <a:rPr lang="fr-BE" sz="1100" err="1">
                <a:solidFill>
                  <a:schemeClr val="accent6"/>
                </a:solidFill>
                <a:latin typeface="Proximus Bold"/>
              </a:rPr>
              <a:t>keynote</a:t>
            </a:r>
            <a:r>
              <a:rPr lang="fr-BE" sz="1100">
                <a:solidFill>
                  <a:schemeClr val="accent6"/>
                </a:solidFill>
                <a:latin typeface="Proximus Bold"/>
              </a:rPr>
              <a:t> « rock &amp; roll » de 45min basé sur son nouveau livre REBEL </a:t>
            </a:r>
            <a:r>
              <a:rPr lang="fr-BE" sz="1100" err="1">
                <a:solidFill>
                  <a:schemeClr val="accent6"/>
                </a:solidFill>
                <a:latin typeface="Proximus Bold"/>
              </a:rPr>
              <a:t>REBEL</a:t>
            </a:r>
            <a:r>
              <a:rPr lang="fr-BE" sz="1100">
                <a:solidFill>
                  <a:schemeClr val="accent6"/>
                </a:solidFill>
                <a:latin typeface="Proximus Bold"/>
              </a:rPr>
              <a:t>. Et nous terminerons cette session </a:t>
            </a:r>
            <a:r>
              <a:rPr lang="fr-BE" sz="1100" err="1">
                <a:solidFill>
                  <a:schemeClr val="accent6"/>
                </a:solidFill>
                <a:latin typeface="Proximus Bold"/>
              </a:rPr>
              <a:t>pléniaire</a:t>
            </a:r>
            <a:r>
              <a:rPr lang="fr-BE" sz="1100">
                <a:solidFill>
                  <a:schemeClr val="accent6"/>
                </a:solidFill>
                <a:latin typeface="Proximus Bold"/>
              </a:rPr>
              <a:t> par un Q&amp;A tant pour les personnes présentent dans la salle que vous qui nous suivez sur votre laptop ou votre TV.</a:t>
            </a:r>
          </a:p>
        </p:txBody>
      </p:sp>
    </p:spTree>
    <p:extLst>
      <p:ext uri="{BB962C8B-B14F-4D97-AF65-F5344CB8AC3E}">
        <p14:creationId xmlns:p14="http://schemas.microsoft.com/office/powerpoint/2010/main" val="7446490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deo NASA</a:t>
            </a:r>
          </a:p>
        </p:txBody>
      </p:sp>
      <p:sp>
        <p:nvSpPr>
          <p:cNvPr id="4" name="Slide Number Placeholder 3"/>
          <p:cNvSpPr>
            <a:spLocks noGrp="1"/>
          </p:cNvSpPr>
          <p:nvPr>
            <p:ph type="sldNum" sz="quarter" idx="5"/>
          </p:nvPr>
        </p:nvSpPr>
        <p:spPr/>
        <p:txBody>
          <a:bodyPr/>
          <a:lstStyle/>
          <a:p>
            <a:fld id="{FA918F22-1231-AB43-96E7-2B8B890DCD5E}" type="slidenum">
              <a:rPr lang="en-US" smtClean="0"/>
              <a:pPr/>
              <a:t>30</a:t>
            </a:fld>
            <a:endParaRPr lang="en-US"/>
          </a:p>
        </p:txBody>
      </p:sp>
    </p:spTree>
    <p:extLst>
      <p:ext uri="{BB962C8B-B14F-4D97-AF65-F5344CB8AC3E}">
        <p14:creationId xmlns:p14="http://schemas.microsoft.com/office/powerpoint/2010/main" val="3171215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1"/>
            <a:r>
              <a:rPr lang="en-US" sz="1100" b="1" u="sng" dirty="0">
                <a:latin typeface="Proximus Bold"/>
              </a:rPr>
              <a:t>PATRICK</a:t>
            </a:r>
            <a:endParaRPr lang="en-US" sz="1100" b="1" dirty="0">
              <a:latin typeface="Proximus Bold"/>
            </a:endParaRPr>
          </a:p>
          <a:p>
            <a:pPr marL="491490" lvl="1" indent="-285750">
              <a:buFont typeface="Arial"/>
              <a:buChar char="•"/>
            </a:pPr>
            <a:r>
              <a:rPr lang="en-US" sz="1100" b="0" dirty="0">
                <a:latin typeface="Proximus Bold"/>
              </a:rPr>
              <a:t>(Goal) We aim over time for a </a:t>
            </a:r>
            <a:r>
              <a:rPr lang="en-US" sz="1100" b="1" dirty="0">
                <a:latin typeface="Proximus Bold"/>
              </a:rPr>
              <a:t>Copper Free </a:t>
            </a:r>
            <a:r>
              <a:rPr lang="en-US" sz="1100" b="0" dirty="0">
                <a:latin typeface="Proximus Bold"/>
              </a:rPr>
              <a:t>network </a:t>
            </a:r>
            <a:r>
              <a:rPr lang="en-US" sz="1100" dirty="0">
                <a:latin typeface="Proximus Bold"/>
              </a:rPr>
              <a:t>by </a:t>
            </a:r>
            <a:r>
              <a:rPr lang="en-US" sz="1100" b="1" dirty="0">
                <a:latin typeface="Proximus Bold"/>
              </a:rPr>
              <a:t>switching off </a:t>
            </a:r>
            <a:r>
              <a:rPr lang="en-US" sz="1100" b="0" dirty="0">
                <a:latin typeface="Proximus Bold"/>
              </a:rPr>
              <a:t>the copper infrastructure. </a:t>
            </a:r>
          </a:p>
          <a:p>
            <a:pPr marL="491490" lvl="1" indent="-285750">
              <a:buFont typeface="Arial"/>
              <a:buChar char="•"/>
            </a:pPr>
            <a:r>
              <a:rPr lang="en-US" sz="1100" b="0" dirty="0">
                <a:latin typeface="Proximus Bold"/>
              </a:rPr>
              <a:t>(“Simplify”) We need to </a:t>
            </a:r>
            <a:r>
              <a:rPr lang="en-US" sz="1100" b="1" dirty="0">
                <a:latin typeface="Proximus Bold"/>
              </a:rPr>
              <a:t>Simplify</a:t>
            </a:r>
            <a:r>
              <a:rPr lang="en-US" sz="1100" dirty="0">
                <a:latin typeface="Proximus Bold"/>
              </a:rPr>
              <a:t> the network </a:t>
            </a:r>
            <a:r>
              <a:rPr lang="en-US" sz="1100" b="0" dirty="0">
                <a:latin typeface="Proximus Bold"/>
              </a:rPr>
              <a:t>to </a:t>
            </a:r>
            <a:r>
              <a:rPr lang="en-US" sz="1100" b="1" dirty="0">
                <a:latin typeface="Proximus Bold"/>
              </a:rPr>
              <a:t>reduce the operational costs</a:t>
            </a:r>
            <a:r>
              <a:rPr lang="en-US" sz="1100" dirty="0">
                <a:latin typeface="Proximus Bold"/>
              </a:rPr>
              <a:t> and </a:t>
            </a:r>
            <a:r>
              <a:rPr lang="en-US" sz="1100" b="0" dirty="0">
                <a:latin typeface="Proximus Bold"/>
              </a:rPr>
              <a:t>to work for the </a:t>
            </a:r>
            <a:r>
              <a:rPr lang="en-US" sz="1100" b="1" dirty="0">
                <a:latin typeface="Proximus Bold"/>
              </a:rPr>
              <a:t>sustainability</a:t>
            </a:r>
            <a:r>
              <a:rPr lang="en-US" sz="1100" b="0" dirty="0">
                <a:latin typeface="Proximus Bold"/>
              </a:rPr>
              <a:t>. </a:t>
            </a:r>
            <a:r>
              <a:rPr lang="en-US" sz="1100" b="1" dirty="0"/>
              <a:t> </a:t>
            </a:r>
            <a:br>
              <a:rPr lang="en-US" sz="1100" b="1" dirty="0"/>
            </a:br>
            <a:r>
              <a:rPr lang="en-US" sz="1100" b="0" dirty="0">
                <a:latin typeface="Proximus Bold"/>
              </a:rPr>
              <a:t>In total we have </a:t>
            </a:r>
            <a:r>
              <a:rPr lang="en-US" sz="1100" b="1" dirty="0">
                <a:latin typeface="Proximus Bold"/>
              </a:rPr>
              <a:t>60,000 street cabinets </a:t>
            </a:r>
            <a:r>
              <a:rPr lang="en-US" sz="1100" b="0" dirty="0">
                <a:latin typeface="Proximus Bold"/>
              </a:rPr>
              <a:t>(incl. 30,000 ROP) in the street and </a:t>
            </a:r>
            <a:r>
              <a:rPr lang="en-US" sz="1100" b="1" dirty="0">
                <a:latin typeface="Proximus Bold"/>
              </a:rPr>
              <a:t>200,000 km </a:t>
            </a:r>
            <a:r>
              <a:rPr lang="en-US" sz="1100" b="0" dirty="0">
                <a:latin typeface="Proximus Bold"/>
              </a:rPr>
              <a:t>of copper cable. </a:t>
            </a:r>
            <a:br>
              <a:rPr lang="en-US" sz="1100" b="0" dirty="0">
                <a:latin typeface="Proximus Bold"/>
              </a:rPr>
            </a:br>
            <a:r>
              <a:rPr lang="en-US" sz="1100" b="0" dirty="0">
                <a:latin typeface="Proximus Bold"/>
              </a:rPr>
              <a:t>It consumes </a:t>
            </a:r>
            <a:r>
              <a:rPr lang="en-US" sz="1100" b="1" dirty="0">
                <a:latin typeface="Proximus Bold"/>
              </a:rPr>
              <a:t>75 GWh, </a:t>
            </a:r>
            <a:r>
              <a:rPr lang="en-US" sz="1100" b="0" dirty="0">
                <a:latin typeface="Proximus Bold"/>
              </a:rPr>
              <a:t>so </a:t>
            </a:r>
            <a:r>
              <a:rPr lang="en-US" sz="1100" b="1" dirty="0">
                <a:latin typeface="Proximus Bold"/>
              </a:rPr>
              <a:t>22% </a:t>
            </a:r>
            <a:r>
              <a:rPr lang="en-US" sz="1100" b="0" dirty="0">
                <a:latin typeface="Proximus Bold"/>
              </a:rPr>
              <a:t>of the total Proximus electricity consumption, worth </a:t>
            </a:r>
            <a:r>
              <a:rPr lang="en-US" sz="1100" b="1" dirty="0">
                <a:latin typeface="Proximus Bold"/>
              </a:rPr>
              <a:t>18 m€/y</a:t>
            </a:r>
            <a:endParaRPr lang="nl-BE" sz="1100" b="1" dirty="0"/>
          </a:p>
          <a:p>
            <a:pPr marL="491490" marR="0" lvl="1" indent="-285750" algn="l" defTabSz="411480" rtl="0" eaLnBrk="1" fontAlgn="auto" latinLnBrk="0" hangingPunct="1">
              <a:lnSpc>
                <a:spcPct val="100000"/>
              </a:lnSpc>
              <a:spcBef>
                <a:spcPts val="0"/>
              </a:spcBef>
              <a:spcAft>
                <a:spcPts val="0"/>
              </a:spcAft>
              <a:buClrTx/>
              <a:buSzTx/>
              <a:buFont typeface="Arial"/>
              <a:buChar char="•"/>
              <a:tabLst/>
              <a:defRPr/>
            </a:pPr>
            <a:r>
              <a:rPr lang="en-US" sz="1100" dirty="0"/>
              <a:t>(“Migrate”) Copper switch off requires to migrate the </a:t>
            </a:r>
            <a:r>
              <a:rPr lang="en-US" sz="1100" b="1" dirty="0"/>
              <a:t>very last customer </a:t>
            </a:r>
            <a:r>
              <a:rPr lang="en-US" sz="1100" dirty="0"/>
              <a:t>of every </a:t>
            </a:r>
            <a:r>
              <a:rPr lang="en-US" sz="1100" b="1" dirty="0"/>
              <a:t>ROP </a:t>
            </a:r>
            <a:r>
              <a:rPr lang="en-US" sz="1100" dirty="0"/>
              <a:t>and of every </a:t>
            </a:r>
            <a:r>
              <a:rPr lang="en-US" sz="1100" b="1" dirty="0"/>
              <a:t>copper </a:t>
            </a:r>
            <a:r>
              <a:rPr lang="en-US" sz="1100" b="1" dirty="0" err="1"/>
              <a:t>cabl</a:t>
            </a:r>
            <a:br>
              <a:rPr lang="en-US" sz="1100" b="0" dirty="0"/>
            </a:br>
            <a:r>
              <a:rPr lang="en-US" sz="1100" b="0" dirty="0"/>
              <a:t>To offer them a Gigabit experience the customers will be migrated, massively to the Proximus fiber networks or to 3</a:t>
            </a:r>
            <a:r>
              <a:rPr lang="en-US" sz="1100" b="0" baseline="30000" dirty="0"/>
              <a:t>rd</a:t>
            </a:r>
            <a:r>
              <a:rPr lang="en-US" sz="1100" b="0" dirty="0"/>
              <a:t> party networks (Fiber, HFC or FWA)  </a:t>
            </a:r>
          </a:p>
          <a:p>
            <a:pPr marL="491490" lvl="1" indent="-285750">
              <a:buFont typeface="Arial"/>
              <a:buChar char="•"/>
            </a:pPr>
            <a:r>
              <a:rPr lang="en-US" sz="1100" b="0" dirty="0"/>
              <a:t>(Graph) </a:t>
            </a:r>
            <a:r>
              <a:rPr lang="en-US" sz="1100" b="1" dirty="0"/>
              <a:t>Volumes</a:t>
            </a:r>
            <a:r>
              <a:rPr lang="en-US" sz="1100" dirty="0"/>
              <a:t> of copper switch off </a:t>
            </a:r>
            <a:r>
              <a:rPr lang="en-US" sz="1100" b="1" dirty="0"/>
              <a:t>will tremendously increase</a:t>
            </a:r>
            <a:r>
              <a:rPr lang="en-US" sz="1100" dirty="0"/>
              <a:t> in the years to come, meaning that </a:t>
            </a:r>
            <a:r>
              <a:rPr lang="en-US" sz="1100" b="1" dirty="0"/>
              <a:t>industrialization / automation is a must</a:t>
            </a:r>
            <a:endParaRPr lang="nl-BE" sz="1100" b="0" dirty="0"/>
          </a:p>
          <a:p>
            <a:pPr marL="491490" lvl="1" indent="-285750">
              <a:buFont typeface="Arial"/>
              <a:buChar char="•"/>
            </a:pPr>
            <a:endParaRPr lang="nl-BE" sz="1100" b="0" dirty="0"/>
          </a:p>
          <a:p>
            <a:pPr marL="491490" lvl="1" indent="-285750">
              <a:buFont typeface="Arial"/>
              <a:buChar char="•"/>
            </a:pPr>
            <a:r>
              <a:rPr lang="en-US" sz="1100" b="0" dirty="0"/>
              <a:t>(“Manage Obsolescence”) Today 1,9 </a:t>
            </a:r>
            <a:r>
              <a:rPr lang="en-US" sz="1100" b="0" dirty="0" err="1"/>
              <a:t>mio</a:t>
            </a:r>
            <a:r>
              <a:rPr lang="en-US" sz="1100" b="0" dirty="0"/>
              <a:t> Proximus customers are on VDSL. </a:t>
            </a:r>
            <a:r>
              <a:rPr lang="en-US" sz="1100" b="1" dirty="0"/>
              <a:t>We need to keep copper network in good shape </a:t>
            </a:r>
            <a:r>
              <a:rPr lang="en-US" sz="1100" dirty="0"/>
              <a:t>to ensure right quality of service to customers. </a:t>
            </a:r>
            <a:br>
              <a:rPr lang="en-US" sz="1100" dirty="0"/>
            </a:br>
            <a:r>
              <a:rPr lang="en-US" sz="1100" b="1" dirty="0"/>
              <a:t>Investment</a:t>
            </a:r>
            <a:r>
              <a:rPr lang="en-US" sz="1100" dirty="0"/>
              <a:t> and efforts have </a:t>
            </a:r>
            <a:r>
              <a:rPr lang="en-US" sz="1100" b="1" dirty="0"/>
              <a:t>to remain very reasonable</a:t>
            </a:r>
            <a:r>
              <a:rPr lang="en-US" sz="1100" dirty="0"/>
              <a:t>. </a:t>
            </a:r>
            <a:r>
              <a:rPr lang="en-US" sz="1100" b="1" dirty="0"/>
              <a:t>Monitoring</a:t>
            </a:r>
            <a:r>
              <a:rPr lang="en-US" sz="1100" dirty="0"/>
              <a:t> aging and finding remedies are keys.</a:t>
            </a:r>
            <a:endParaRPr lang="nl-BE" sz="1100" dirty="0"/>
          </a:p>
          <a:p>
            <a:endParaRPr lang="nl-BE" sz="500" dirty="0"/>
          </a:p>
          <a:p>
            <a:endParaRPr lang="nl-BE" sz="500" dirty="0"/>
          </a:p>
        </p:txBody>
      </p:sp>
      <p:sp>
        <p:nvSpPr>
          <p:cNvPr id="4" name="Tijdelijke aanduiding voor dianummer 3"/>
          <p:cNvSpPr>
            <a:spLocks noGrp="1"/>
          </p:cNvSpPr>
          <p:nvPr>
            <p:ph type="sldNum" sz="quarter" idx="5"/>
          </p:nvPr>
        </p:nvSpPr>
        <p:spPr/>
        <p:txBody>
          <a:bodyPr/>
          <a:lstStyle/>
          <a:p>
            <a:fld id="{FA918F22-1231-AB43-96E7-2B8B890DCD5E}" type="slidenum">
              <a:rPr lang="en-US" smtClean="0"/>
              <a:pPr/>
              <a:t>31</a:t>
            </a:fld>
            <a:endParaRPr lang="en-US"/>
          </a:p>
        </p:txBody>
      </p:sp>
    </p:spTree>
    <p:extLst>
      <p:ext uri="{BB962C8B-B14F-4D97-AF65-F5344CB8AC3E}">
        <p14:creationId xmlns:p14="http://schemas.microsoft.com/office/powerpoint/2010/main" val="536517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0D9C0-9E98-8724-3997-79B96401A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2ED3BB-BA82-F77D-85FC-769A67D71F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AC0A74-D991-818B-FB05-CDF8B7A9CC66}"/>
              </a:ext>
            </a:extLst>
          </p:cNvPr>
          <p:cNvSpPr>
            <a:spLocks noGrp="1"/>
          </p:cNvSpPr>
          <p:nvPr>
            <p:ph type="body" idx="1"/>
          </p:nvPr>
        </p:nvSpPr>
        <p:spPr/>
        <p:txBody>
          <a:bodyPr/>
          <a:lstStyle/>
          <a:p>
            <a:r>
              <a:rPr lang="en-US" sz="1100" b="1" u="sng" dirty="0">
                <a:latin typeface="Calibri"/>
                <a:ea typeface="Calibri"/>
                <a:cs typeface="Calibri"/>
              </a:rPr>
              <a:t>PATRICK</a:t>
            </a:r>
          </a:p>
          <a:p>
            <a:r>
              <a:rPr lang="en-US" sz="1100" b="1" dirty="0">
                <a:latin typeface="Calibri"/>
                <a:ea typeface="Calibri"/>
                <a:cs typeface="Calibri"/>
              </a:rPr>
              <a:t>Y2025</a:t>
            </a:r>
          </a:p>
          <a:p>
            <a:r>
              <a:rPr lang="en-US" sz="1100" dirty="0">
                <a:latin typeface="Calibri"/>
                <a:ea typeface="Calibri"/>
                <a:cs typeface="Calibri"/>
              </a:rPr>
              <a:t>1.  Migrating all customers on fiber in a era requires a </a:t>
            </a:r>
            <a:r>
              <a:rPr lang="en-US" sz="1100" b="1" dirty="0">
                <a:latin typeface="Calibri"/>
                <a:ea typeface="Calibri"/>
                <a:cs typeface="Calibri"/>
              </a:rPr>
              <a:t>focus </a:t>
            </a:r>
            <a:r>
              <a:rPr lang="en-US" sz="1100" dirty="0">
                <a:latin typeface="Calibri"/>
                <a:ea typeface="Calibri"/>
                <a:cs typeface="Calibri"/>
              </a:rPr>
              <a:t>on </a:t>
            </a:r>
            <a:r>
              <a:rPr lang="en-US" sz="1100" b="1" dirty="0">
                <a:latin typeface="Calibri"/>
                <a:ea typeface="Calibri"/>
                <a:cs typeface="Calibri"/>
              </a:rPr>
              <a:t>“100%-RFT” </a:t>
            </a:r>
            <a:r>
              <a:rPr lang="en-US" sz="1100" dirty="0">
                <a:latin typeface="Calibri"/>
                <a:ea typeface="Calibri"/>
                <a:cs typeface="Calibri"/>
              </a:rPr>
              <a:t>(Ready for Termination). Target Y2025 RFT/HP  120% = 111 </a:t>
            </a:r>
            <a:r>
              <a:rPr lang="en-US" sz="1100" dirty="0" err="1">
                <a:latin typeface="Calibri"/>
                <a:ea typeface="Calibri"/>
                <a:cs typeface="Calibri"/>
              </a:rPr>
              <a:t>kRFT</a:t>
            </a:r>
            <a:r>
              <a:rPr lang="en-US" sz="1100" dirty="0">
                <a:latin typeface="Calibri"/>
                <a:ea typeface="Calibri"/>
                <a:cs typeface="Calibri"/>
              </a:rPr>
              <a:t> (tbc) and on “</a:t>
            </a:r>
            <a:r>
              <a:rPr lang="en-US" sz="1100" b="1" dirty="0">
                <a:latin typeface="Calibri"/>
                <a:ea typeface="Calibri"/>
                <a:cs typeface="Calibri"/>
              </a:rPr>
              <a:t>T9x”</a:t>
            </a:r>
            <a:br>
              <a:rPr lang="en-US" sz="1100" b="1" dirty="0">
                <a:latin typeface="Calibri"/>
                <a:ea typeface="Calibri"/>
                <a:cs typeface="Calibri"/>
              </a:rPr>
            </a:br>
            <a:r>
              <a:rPr lang="en-US" sz="1100" b="1" dirty="0">
                <a:latin typeface="Calibri"/>
                <a:ea typeface="Calibri"/>
                <a:cs typeface="Calibri"/>
              </a:rPr>
              <a:t>     Seize any opportunity </a:t>
            </a:r>
            <a:r>
              <a:rPr lang="en-US" sz="1100" b="0" dirty="0">
                <a:latin typeface="Calibri"/>
                <a:ea typeface="Calibri"/>
                <a:cs typeface="Calibri"/>
              </a:rPr>
              <a:t>during roadworks to migrate customer to fiber sooner, in touch with CBU/EBU/CWS.</a:t>
            </a:r>
          </a:p>
          <a:p>
            <a:r>
              <a:rPr lang="en-US" sz="1100" dirty="0">
                <a:latin typeface="Calibri"/>
                <a:ea typeface="Calibri"/>
                <a:cs typeface="Calibri"/>
              </a:rPr>
              <a:t>2.  We </a:t>
            </a:r>
            <a:r>
              <a:rPr lang="en-US" sz="1100" b="1" dirty="0">
                <a:latin typeface="Calibri"/>
                <a:ea typeface="Calibri"/>
                <a:cs typeface="Calibri"/>
              </a:rPr>
              <a:t>double </a:t>
            </a:r>
            <a:r>
              <a:rPr lang="en-US" sz="1100" dirty="0">
                <a:latin typeface="Calibri"/>
                <a:ea typeface="Calibri"/>
                <a:cs typeface="Calibri"/>
              </a:rPr>
              <a:t>the number of ROP Switch Off (400 in 2025) and intensify the ROP compacting (2000), to reduce the energy consumption with (tbc) GWh/y</a:t>
            </a:r>
          </a:p>
          <a:p>
            <a:r>
              <a:rPr lang="en-US" sz="1100" dirty="0">
                <a:latin typeface="Calibri"/>
                <a:ea typeface="Calibri"/>
                <a:cs typeface="Calibri"/>
              </a:rPr>
              <a:t>3.  The </a:t>
            </a:r>
            <a:r>
              <a:rPr lang="en-US" sz="1100" b="1" dirty="0">
                <a:latin typeface="Calibri"/>
                <a:ea typeface="Calibri"/>
                <a:cs typeface="Calibri"/>
              </a:rPr>
              <a:t>ROP switch-off </a:t>
            </a:r>
            <a:r>
              <a:rPr lang="en-US" sz="1100" dirty="0">
                <a:latin typeface="Calibri"/>
                <a:ea typeface="Calibri"/>
                <a:cs typeface="Calibri"/>
              </a:rPr>
              <a:t>and </a:t>
            </a:r>
            <a:r>
              <a:rPr lang="en-US" sz="1100" b="1" dirty="0">
                <a:latin typeface="Calibri"/>
                <a:ea typeface="Calibri"/>
                <a:cs typeface="Calibri"/>
              </a:rPr>
              <a:t>copper decommissioning </a:t>
            </a:r>
            <a:r>
              <a:rPr lang="en-US" sz="1100" dirty="0">
                <a:latin typeface="Calibri"/>
                <a:ea typeface="Calibri"/>
                <a:cs typeface="Calibri"/>
              </a:rPr>
              <a:t>requires lot of </a:t>
            </a:r>
            <a:r>
              <a:rPr lang="en-US" sz="1100" b="1" dirty="0">
                <a:latin typeface="Calibri"/>
                <a:ea typeface="Calibri"/>
                <a:cs typeface="Calibri"/>
              </a:rPr>
              <a:t>manual works</a:t>
            </a:r>
            <a:r>
              <a:rPr lang="en-US" sz="1100" dirty="0">
                <a:latin typeface="Calibri"/>
                <a:ea typeface="Calibri"/>
                <a:cs typeface="Calibri"/>
              </a:rPr>
              <a:t> that will be </a:t>
            </a:r>
            <a:r>
              <a:rPr lang="en-US" sz="1100" b="1" dirty="0">
                <a:latin typeface="Calibri"/>
                <a:ea typeface="Calibri"/>
                <a:cs typeface="Calibri"/>
              </a:rPr>
              <a:t>highly automated </a:t>
            </a:r>
            <a:r>
              <a:rPr lang="en-US" sz="1100" dirty="0">
                <a:latin typeface="Calibri"/>
                <a:ea typeface="Calibri"/>
                <a:cs typeface="Calibri"/>
              </a:rPr>
              <a:t>with xx IT deliverables (CIRO project)</a:t>
            </a:r>
          </a:p>
          <a:p>
            <a:r>
              <a:rPr lang="en-US" sz="1100" dirty="0">
                <a:latin typeface="Calibri"/>
                <a:ea typeface="Calibri"/>
                <a:cs typeface="Calibri"/>
              </a:rPr>
              <a:t>4.  We will continue the </a:t>
            </a:r>
            <a:r>
              <a:rPr lang="en-US" sz="1100" b="1" dirty="0">
                <a:latin typeface="Calibri"/>
                <a:ea typeface="Calibri"/>
                <a:cs typeface="Calibri"/>
              </a:rPr>
              <a:t>card recuperation </a:t>
            </a:r>
            <a:r>
              <a:rPr lang="en-US" sz="1100" b="0" dirty="0">
                <a:latin typeface="Calibri"/>
                <a:ea typeface="Calibri"/>
                <a:cs typeface="Calibri"/>
              </a:rPr>
              <a:t>and are selecting a </a:t>
            </a:r>
            <a:r>
              <a:rPr lang="en-US" sz="1100" b="1" dirty="0">
                <a:latin typeface="Calibri"/>
                <a:ea typeface="Calibri"/>
                <a:cs typeface="Calibri"/>
              </a:rPr>
              <a:t>3</a:t>
            </a:r>
            <a:r>
              <a:rPr lang="en-US" sz="1100" b="1" baseline="30000" dirty="0">
                <a:latin typeface="Calibri"/>
                <a:ea typeface="Calibri"/>
                <a:cs typeface="Calibri"/>
              </a:rPr>
              <a:t>rd</a:t>
            </a:r>
            <a:r>
              <a:rPr lang="en-US" sz="1100" b="1" dirty="0">
                <a:latin typeface="Calibri"/>
                <a:ea typeface="Calibri"/>
                <a:cs typeface="Calibri"/>
              </a:rPr>
              <a:t> party </a:t>
            </a:r>
            <a:r>
              <a:rPr lang="en-US" sz="1100" b="0" dirty="0">
                <a:latin typeface="Calibri"/>
                <a:ea typeface="Calibri"/>
                <a:cs typeface="Calibri"/>
              </a:rPr>
              <a:t>for electronic card repair (ongoing CTDI &amp; Cordon) </a:t>
            </a:r>
            <a:br>
              <a:rPr lang="en-US" sz="1100" b="0" dirty="0">
                <a:latin typeface="Calibri"/>
                <a:ea typeface="Calibri"/>
                <a:cs typeface="Calibri"/>
              </a:rPr>
            </a:br>
            <a:r>
              <a:rPr lang="en-US" sz="1100" b="0" dirty="0">
                <a:latin typeface="Calibri"/>
                <a:ea typeface="Calibri"/>
                <a:cs typeface="Calibri"/>
              </a:rPr>
              <a:t>    Parallelly, we continue the </a:t>
            </a:r>
            <a:r>
              <a:rPr lang="en-US" sz="1100" b="1" dirty="0">
                <a:latin typeface="Calibri"/>
                <a:ea typeface="Calibri"/>
                <a:cs typeface="Calibri"/>
              </a:rPr>
              <a:t>PROF AI project </a:t>
            </a:r>
            <a:r>
              <a:rPr lang="en-US" sz="1100" dirty="0">
                <a:latin typeface="Calibri"/>
                <a:ea typeface="Calibri"/>
                <a:cs typeface="Calibri"/>
              </a:rPr>
              <a:t>that is modelling (trying to </a:t>
            </a:r>
            <a:r>
              <a:rPr lang="en-US" sz="1100" dirty="0" err="1">
                <a:latin typeface="Calibri"/>
                <a:ea typeface="Calibri"/>
                <a:cs typeface="Calibri"/>
              </a:rPr>
              <a:t>beter</a:t>
            </a:r>
            <a:r>
              <a:rPr lang="en-US" sz="1100" dirty="0">
                <a:latin typeface="Calibri"/>
                <a:ea typeface="Calibri"/>
                <a:cs typeface="Calibri"/>
              </a:rPr>
              <a:t> predict) the ROP ageing </a:t>
            </a:r>
            <a:r>
              <a:rPr lang="en-US" sz="1100" dirty="0" err="1">
                <a:latin typeface="Calibri"/>
                <a:ea typeface="Calibri"/>
                <a:cs typeface="Calibri"/>
              </a:rPr>
              <a:t>LifeCycleManagement</a:t>
            </a:r>
            <a:r>
              <a:rPr lang="en-US" sz="1100" dirty="0">
                <a:latin typeface="Calibri"/>
                <a:ea typeface="Calibri"/>
                <a:cs typeface="Calibri"/>
              </a:rPr>
              <a:t>.</a:t>
            </a:r>
          </a:p>
          <a:p>
            <a:endParaRPr lang="en-US" sz="1100" dirty="0">
              <a:latin typeface="Calibri"/>
              <a:ea typeface="Calibri"/>
              <a:cs typeface="Calibri"/>
            </a:endParaRPr>
          </a:p>
          <a:p>
            <a:endParaRPr lang="en-GB" sz="1100" dirty="0">
              <a:effectLst/>
            </a:endParaRPr>
          </a:p>
          <a:p>
            <a:pPr marL="1828800" lvl="4" indent="0" fontAlgn="ctr">
              <a:buSzPts val="1000"/>
              <a:buFont typeface="Symbol" panose="05050102010706020507" pitchFamily="18" charset="2"/>
              <a:buNone/>
              <a:tabLst>
                <a:tab pos="2286000" algn="l"/>
              </a:tabLst>
            </a:pPr>
            <a:r>
              <a:rPr lang="en-US" sz="1100" b="1" dirty="0">
                <a:effectLst/>
                <a:latin typeface="Calibri" panose="020F0502020204030204" pitchFamily="34" charset="0"/>
                <a:ea typeface="Times New Roman" panose="02020603050405020304" pitchFamily="18" charset="0"/>
                <a:cs typeface="Aptos" panose="020B0004020202020204" pitchFamily="34" charset="0"/>
              </a:rPr>
              <a:t>IT CIRO</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AGW-LEX </a:t>
            </a:r>
            <a:r>
              <a:rPr lang="en-GB" sz="1100" dirty="0" err="1">
                <a:effectLst/>
                <a:latin typeface="Aptos" panose="020B0004020202020204" pitchFamily="34" charset="0"/>
                <a:ea typeface="Times New Roman" panose="02020603050405020304" pitchFamily="18" charset="0"/>
                <a:cs typeface="Aptos" panose="020B0004020202020204" pitchFamily="34" charset="0"/>
              </a:rPr>
              <a:t>compactin</a:t>
            </a:r>
            <a:endParaRPr lang="en-GB" sz="1100" dirty="0">
              <a:effectLst/>
              <a:latin typeface="Aptos" panose="020B0004020202020204" pitchFamily="34" charset="0"/>
              <a:ea typeface="Times New Roman" panose="02020603050405020304" pitchFamily="18" charset="0"/>
              <a:cs typeface="Aptos" panose="020B0004020202020204" pitchFamily="34" charset="0"/>
            </a:endParaRP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a:t>
            </a:r>
            <a:r>
              <a:rPr lang="en-GB" sz="1100" dirty="0" err="1">
                <a:effectLst/>
                <a:latin typeface="Aptos" panose="020B0004020202020204" pitchFamily="34" charset="0"/>
                <a:ea typeface="Times New Roman" panose="02020603050405020304" pitchFamily="18" charset="0"/>
                <a:cs typeface="Aptos" panose="020B0004020202020204" pitchFamily="34" charset="0"/>
              </a:rPr>
              <a:t>Fluvius</a:t>
            </a:r>
            <a:r>
              <a:rPr lang="en-GB" sz="1100" dirty="0">
                <a:effectLst/>
                <a:latin typeface="Aptos" panose="020B0004020202020204" pitchFamily="34" charset="0"/>
                <a:ea typeface="Times New Roman" panose="02020603050405020304" pitchFamily="18" charset="0"/>
                <a:cs typeface="Aptos" panose="020B0004020202020204" pitchFamily="34" charset="0"/>
              </a:rPr>
              <a:t> ROP power off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documentation adaptation after full ROP DEPEC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ROP compacting full automation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SIBELGA ROP power off  (RPA).   (ORES is still questioned given multiple regional administrations</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copper cables documentation adaptation (to be ready end 2026)</a:t>
            </a:r>
            <a:endParaRPr lang="en-GB" sz="1100" dirty="0">
              <a:effectLst/>
              <a:latin typeface="Aptos" panose="020B0004020202020204" pitchFamily="34" charset="0"/>
              <a:ea typeface="Calibri" panose="020F0502020204030204" pitchFamily="34" charset="0"/>
              <a:cs typeface="Aptos" panose="020B0004020202020204" pitchFamily="34" charset="0"/>
            </a:endParaRPr>
          </a:p>
          <a:p>
            <a:r>
              <a:rPr lang="en-US" dirty="0">
                <a:latin typeface="Calibri"/>
                <a:ea typeface="Calibri"/>
                <a:cs typeface="Calibri"/>
              </a:rPr>
              <a:t>  </a:t>
            </a:r>
          </a:p>
        </p:txBody>
      </p:sp>
      <p:sp>
        <p:nvSpPr>
          <p:cNvPr id="4" name="Slide Number Placeholder 3">
            <a:extLst>
              <a:ext uri="{FF2B5EF4-FFF2-40B4-BE49-F238E27FC236}">
                <a16:creationId xmlns:a16="http://schemas.microsoft.com/office/drawing/2014/main" id="{39071AFC-6353-F4CF-27D1-89ED38B13D4B}"/>
              </a:ext>
            </a:extLst>
          </p:cNvPr>
          <p:cNvSpPr>
            <a:spLocks noGrp="1"/>
          </p:cNvSpPr>
          <p:nvPr>
            <p:ph type="sldNum" sz="quarter" idx="5"/>
          </p:nvPr>
        </p:nvSpPr>
        <p:spPr/>
        <p:txBody>
          <a:bodyPr/>
          <a:lstStyle/>
          <a:p>
            <a:fld id="{FA918F22-1231-AB43-96E7-2B8B890DCD5E}" type="slidenum">
              <a:rPr lang="en-US" smtClean="0"/>
              <a:pPr/>
              <a:t>32</a:t>
            </a:fld>
            <a:endParaRPr lang="en-US"/>
          </a:p>
        </p:txBody>
      </p:sp>
    </p:spTree>
    <p:extLst>
      <p:ext uri="{BB962C8B-B14F-4D97-AF65-F5344CB8AC3E}">
        <p14:creationId xmlns:p14="http://schemas.microsoft.com/office/powerpoint/2010/main" val="18762968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CC038-6F22-C787-54D6-7C08B178605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D9E8E46-4358-8F17-4896-E2390114802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5F88D2B-B926-7076-6893-090450EC8BF5}"/>
              </a:ext>
            </a:extLst>
          </p:cNvPr>
          <p:cNvSpPr>
            <a:spLocks noGrp="1"/>
          </p:cNvSpPr>
          <p:nvPr>
            <p:ph type="body" idx="1"/>
          </p:nvPr>
        </p:nvSpPr>
        <p:spPr/>
        <p:txBody>
          <a:bodyPr/>
          <a:lstStyle/>
          <a:p>
            <a:pPr lvl="1"/>
            <a:r>
              <a:rPr lang="en-US" sz="1100" b="1" u="sng" dirty="0">
                <a:latin typeface="Proximus Bold"/>
              </a:rPr>
              <a:t>PATRICK</a:t>
            </a:r>
            <a:endParaRPr lang="en-US" sz="1100" u="sng" dirty="0"/>
          </a:p>
          <a:p>
            <a:pPr marL="491490" lvl="1" indent="-285750">
              <a:buFont typeface="Arial"/>
              <a:buChar char="•"/>
            </a:pPr>
            <a:r>
              <a:rPr lang="en-US" sz="1100" dirty="0"/>
              <a:t>The </a:t>
            </a:r>
            <a:r>
              <a:rPr lang="en-US" sz="1100" b="1" dirty="0"/>
              <a:t>network transition </a:t>
            </a:r>
            <a:r>
              <a:rPr lang="en-US" sz="1100" dirty="0"/>
              <a:t>present an opportunity to </a:t>
            </a:r>
            <a:r>
              <a:rPr lang="en-US" sz="1100" b="1" dirty="0"/>
              <a:t>streamline </a:t>
            </a:r>
            <a:r>
              <a:rPr lang="en-US" sz="1100" dirty="0"/>
              <a:t>our real-estate portfolio, enabling </a:t>
            </a:r>
            <a:r>
              <a:rPr lang="en-US" sz="1100" b="1" dirty="0"/>
              <a:t>cash generation</a:t>
            </a:r>
            <a:r>
              <a:rPr lang="en-US" sz="1100" dirty="0"/>
              <a:t>, </a:t>
            </a:r>
            <a:r>
              <a:rPr lang="en-US" sz="1100" b="1" dirty="0"/>
              <a:t>sustained savings </a:t>
            </a:r>
            <a:r>
              <a:rPr lang="en-US" sz="1100" dirty="0"/>
              <a:t>and </a:t>
            </a:r>
            <a:r>
              <a:rPr lang="en-US" sz="1100" b="1" dirty="0"/>
              <a:t>decreased carbon emission.</a:t>
            </a:r>
            <a:endParaRPr lang="en-US" sz="1100" b="0" dirty="0">
              <a:latin typeface="Proximus Bold"/>
            </a:endParaRPr>
          </a:p>
          <a:p>
            <a:pPr marL="491490" lvl="1" indent="-285750">
              <a:buFont typeface="Arial"/>
              <a:buChar char="•"/>
            </a:pPr>
            <a:endParaRPr lang="en-US" sz="1100" b="0" dirty="0">
              <a:latin typeface="Proximus Bold"/>
            </a:endParaRPr>
          </a:p>
          <a:p>
            <a:pPr marL="491490" lvl="1" indent="-285750">
              <a:buFont typeface="Arial"/>
              <a:buChar char="•"/>
            </a:pPr>
            <a:r>
              <a:rPr lang="en-US" sz="1100" b="0" dirty="0">
                <a:latin typeface="Proximus Bold"/>
              </a:rPr>
              <a:t>Proximus owns </a:t>
            </a:r>
            <a:r>
              <a:rPr lang="en-US" sz="1100" b="1" dirty="0"/>
              <a:t>800+ buildings </a:t>
            </a:r>
            <a:r>
              <a:rPr lang="en-US" sz="1100" b="0" dirty="0"/>
              <a:t>for </a:t>
            </a:r>
            <a:r>
              <a:rPr lang="en-US" sz="1100" dirty="0"/>
              <a:t>telco equipment. (mainly Small buildings such as Small Lex and LDC = 650)</a:t>
            </a:r>
            <a:br>
              <a:rPr lang="en-US" sz="1100" b="0" dirty="0">
                <a:latin typeface="Proximus Bold" panose="00000500000000000000" pitchFamily="2" charset="0"/>
              </a:rPr>
            </a:br>
            <a:r>
              <a:rPr lang="en-US" sz="1100" b="0" dirty="0">
                <a:latin typeface="Proximus Bold"/>
              </a:rPr>
              <a:t>We can reduce those assets by -</a:t>
            </a:r>
            <a:r>
              <a:rPr lang="en-US" sz="1100" b="1" dirty="0">
                <a:latin typeface="Proximus Bold"/>
              </a:rPr>
              <a:t>80% </a:t>
            </a:r>
            <a:r>
              <a:rPr lang="en-US" sz="1100" b="0" dirty="0">
                <a:latin typeface="Proximus Bold"/>
              </a:rPr>
              <a:t>(down to 156 buildings)</a:t>
            </a:r>
            <a:r>
              <a:rPr lang="en-US" sz="1100" b="1" dirty="0">
                <a:latin typeface="Proximus Bold"/>
              </a:rPr>
              <a:t>, </a:t>
            </a:r>
            <a:r>
              <a:rPr lang="en-US" sz="1100" b="0" dirty="0">
                <a:latin typeface="Proximus Bold"/>
              </a:rPr>
              <a:t>allowing to </a:t>
            </a:r>
            <a:r>
              <a:rPr lang="en-US" sz="1100" b="1" dirty="0">
                <a:latin typeface="Proximus Bold"/>
              </a:rPr>
              <a:t>reduce </a:t>
            </a:r>
            <a:r>
              <a:rPr lang="en-US" sz="1100" b="0" dirty="0">
                <a:latin typeface="Proximus Bold"/>
              </a:rPr>
              <a:t>the occupied </a:t>
            </a:r>
            <a:r>
              <a:rPr lang="en-US" sz="1100" b="1" dirty="0">
                <a:latin typeface="Proximus Bold"/>
              </a:rPr>
              <a:t>surface </a:t>
            </a:r>
            <a:r>
              <a:rPr lang="en-US" sz="1100" b="0" dirty="0">
                <a:latin typeface="Proximus Bold"/>
              </a:rPr>
              <a:t>by </a:t>
            </a:r>
            <a:r>
              <a:rPr lang="en-US" sz="1100" b="1" dirty="0">
                <a:latin typeface="Proximus Bold"/>
              </a:rPr>
              <a:t>-94% </a:t>
            </a:r>
            <a:r>
              <a:rPr lang="en-US" sz="1100" b="0" dirty="0">
                <a:latin typeface="Proximus Bold"/>
              </a:rPr>
              <a:t>(640k SQM to 40k SQM) and -56% energy decrease</a:t>
            </a:r>
            <a:br>
              <a:rPr lang="en-US" sz="1100" b="0" dirty="0">
                <a:latin typeface="Proximus Bold"/>
              </a:rPr>
            </a:br>
            <a:r>
              <a:rPr lang="en-US" sz="1100" b="0" dirty="0">
                <a:latin typeface="Proximus Bold"/>
              </a:rPr>
              <a:t>We will </a:t>
            </a:r>
            <a:r>
              <a:rPr lang="en-US" sz="1100" b="1" dirty="0">
                <a:latin typeface="Proximus Bold"/>
              </a:rPr>
              <a:t>accelerate Mantra+, </a:t>
            </a:r>
            <a:r>
              <a:rPr lang="en-US" sz="1100" b="0" dirty="0">
                <a:latin typeface="Proximus Bold"/>
              </a:rPr>
              <a:t>this is the </a:t>
            </a:r>
            <a:r>
              <a:rPr lang="en-US" sz="1100" b="1" dirty="0">
                <a:latin typeface="Proximus Bold"/>
              </a:rPr>
              <a:t>Picasso project</a:t>
            </a:r>
            <a:r>
              <a:rPr lang="en-US" sz="1100" b="0" dirty="0">
                <a:latin typeface="Proximus Bold"/>
              </a:rPr>
              <a:t>, a massive building </a:t>
            </a:r>
            <a:r>
              <a:rPr lang="en-US" sz="1100" b="1" dirty="0">
                <a:latin typeface="Proximus Bold"/>
              </a:rPr>
              <a:t>phase-out </a:t>
            </a:r>
            <a:r>
              <a:rPr lang="en-US" sz="1100" b="0" dirty="0">
                <a:latin typeface="Proximus Bold"/>
              </a:rPr>
              <a:t>program for </a:t>
            </a:r>
            <a:r>
              <a:rPr lang="en-US" sz="1100" b="1" dirty="0">
                <a:latin typeface="Proximus Bold"/>
              </a:rPr>
              <a:t>reselling</a:t>
            </a:r>
            <a:endParaRPr lang="en-US" sz="1100" b="0" dirty="0">
              <a:latin typeface="Proximus Bold"/>
            </a:endParaRPr>
          </a:p>
          <a:p>
            <a:pPr marL="491490" lvl="1" indent="-285750">
              <a:buFont typeface="Arial"/>
              <a:buChar char="•"/>
            </a:pPr>
            <a:endParaRPr lang="en-US" sz="1200" b="0" dirty="0">
              <a:latin typeface="Proximus Bold"/>
            </a:endParaRPr>
          </a:p>
          <a:p>
            <a:pPr marL="205740" lvl="1" indent="0">
              <a:buFont typeface="Arial"/>
              <a:buNone/>
            </a:pPr>
            <a:r>
              <a:rPr lang="en-US" sz="1200" b="1" dirty="0">
                <a:latin typeface="Proximus Bold"/>
              </a:rPr>
              <a:t>  </a:t>
            </a:r>
          </a:p>
          <a:p>
            <a:pPr marL="491490" lvl="1" indent="-285750">
              <a:buFont typeface="Arial"/>
              <a:buChar char="•"/>
            </a:pPr>
            <a:endParaRPr lang="nl-BE" sz="1200" dirty="0"/>
          </a:p>
          <a:p>
            <a:endParaRPr lang="nl-BE" sz="500" dirty="0"/>
          </a:p>
        </p:txBody>
      </p:sp>
      <p:sp>
        <p:nvSpPr>
          <p:cNvPr id="4" name="Tijdelijke aanduiding voor dianummer 3">
            <a:extLst>
              <a:ext uri="{FF2B5EF4-FFF2-40B4-BE49-F238E27FC236}">
                <a16:creationId xmlns:a16="http://schemas.microsoft.com/office/drawing/2014/main" id="{0CA68A4A-2B4E-A8B3-2B6D-3697FDF3C024}"/>
              </a:ext>
            </a:extLst>
          </p:cNvPr>
          <p:cNvSpPr>
            <a:spLocks noGrp="1"/>
          </p:cNvSpPr>
          <p:nvPr>
            <p:ph type="sldNum" sz="quarter" idx="5"/>
          </p:nvPr>
        </p:nvSpPr>
        <p:spPr/>
        <p:txBody>
          <a:bodyPr/>
          <a:lstStyle/>
          <a:p>
            <a:fld id="{FA918F22-1231-AB43-96E7-2B8B890DCD5E}" type="slidenum">
              <a:rPr lang="en-US" smtClean="0"/>
              <a:pPr/>
              <a:t>33</a:t>
            </a:fld>
            <a:endParaRPr lang="en-US"/>
          </a:p>
        </p:txBody>
      </p:sp>
    </p:spTree>
    <p:extLst>
      <p:ext uri="{BB962C8B-B14F-4D97-AF65-F5344CB8AC3E}">
        <p14:creationId xmlns:p14="http://schemas.microsoft.com/office/powerpoint/2010/main" val="2524082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7AB3A-3440-0DA8-195A-D61F1507FCB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DA7B275-EA7C-36A2-919D-364DD4C6311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CF1B4E3-CE8F-377B-E618-40DE138AEE23}"/>
              </a:ext>
            </a:extLst>
          </p:cNvPr>
          <p:cNvSpPr>
            <a:spLocks noGrp="1"/>
          </p:cNvSpPr>
          <p:nvPr>
            <p:ph type="body" idx="1"/>
          </p:nvPr>
        </p:nvSpPr>
        <p:spPr/>
        <p:txBody>
          <a:bodyPr/>
          <a:lstStyle/>
          <a:p>
            <a:pPr lvl="1"/>
            <a:r>
              <a:rPr lang="en-US" sz="1100" b="1" u="sng" dirty="0">
                <a:latin typeface="Proximus Bold"/>
              </a:rPr>
              <a:t>PATRICK</a:t>
            </a:r>
            <a:endParaRPr lang="en-US" sz="1100" u="sng" dirty="0"/>
          </a:p>
          <a:p>
            <a:pPr marL="377190" lvl="1" indent="-171450">
              <a:buFont typeface="Arial" panose="020B0604020202020204" pitchFamily="34" charset="0"/>
              <a:buChar char="•"/>
            </a:pPr>
            <a:r>
              <a:rPr lang="en-US" sz="1100" b="0" dirty="0">
                <a:latin typeface="Proximus Bold"/>
              </a:rPr>
              <a:t>Proximus still owns </a:t>
            </a:r>
            <a:r>
              <a:rPr lang="en-US" sz="1100" b="1" dirty="0"/>
              <a:t>800 building </a:t>
            </a:r>
            <a:r>
              <a:rPr lang="en-US" sz="1100" b="0" dirty="0"/>
              <a:t>for </a:t>
            </a:r>
            <a:r>
              <a:rPr lang="en-US" sz="1100" dirty="0"/>
              <a:t>telco. </a:t>
            </a:r>
            <a:br>
              <a:rPr lang="en-US" sz="1100" dirty="0"/>
            </a:br>
            <a:r>
              <a:rPr lang="en-US" sz="1100" b="0" dirty="0">
                <a:latin typeface="Proximus Bold"/>
              </a:rPr>
              <a:t>We we evolve to a tempo of </a:t>
            </a:r>
            <a:r>
              <a:rPr lang="en-US" sz="1100" b="1" dirty="0">
                <a:latin typeface="Proximus Bold"/>
              </a:rPr>
              <a:t>40 buildings/years </a:t>
            </a:r>
            <a:r>
              <a:rPr lang="en-US" sz="1100" b="0" dirty="0">
                <a:latin typeface="Proximus Bold"/>
              </a:rPr>
              <a:t>including very big ones (x 6) .</a:t>
            </a:r>
          </a:p>
          <a:p>
            <a:pPr marL="491490" lvl="1" indent="-285750">
              <a:buFont typeface="Arial"/>
              <a:buChar char="•"/>
            </a:pPr>
            <a:endParaRPr lang="en-US" sz="1100" b="0" dirty="0">
              <a:latin typeface="Proximus Bold"/>
            </a:endParaRPr>
          </a:p>
          <a:p>
            <a:pPr marL="491490" lvl="1" indent="-285750">
              <a:buFont typeface="Arial"/>
              <a:buChar char="•"/>
            </a:pPr>
            <a:r>
              <a:rPr lang="en-US" sz="1100" b="0" dirty="0">
                <a:latin typeface="Proximus Bold"/>
              </a:rPr>
              <a:t>Picasso consists in fully </a:t>
            </a:r>
            <a:r>
              <a:rPr lang="en-US" sz="1100" b="1" dirty="0">
                <a:latin typeface="Proximus Bold"/>
              </a:rPr>
              <a:t>redesigning </a:t>
            </a:r>
            <a:r>
              <a:rPr lang="en-US" sz="1100" b="0" dirty="0">
                <a:latin typeface="Proximus Bold"/>
              </a:rPr>
              <a:t>and </a:t>
            </a:r>
            <a:r>
              <a:rPr lang="en-US" sz="1100" b="1" dirty="0">
                <a:latin typeface="Proximus Bold"/>
              </a:rPr>
              <a:t>relocating </a:t>
            </a:r>
            <a:r>
              <a:rPr lang="en-US" sz="1100" b="0" dirty="0">
                <a:latin typeface="Proximus Bold"/>
              </a:rPr>
              <a:t>the telco network </a:t>
            </a:r>
          </a:p>
          <a:p>
            <a:pPr marL="697230" lvl="2" indent="-285750">
              <a:buFont typeface="Arial"/>
              <a:buChar char="•"/>
            </a:pPr>
            <a:r>
              <a:rPr lang="en-US" sz="1100" b="0" dirty="0">
                <a:latin typeface="Proximus Bold"/>
              </a:rPr>
              <a:t>to </a:t>
            </a:r>
            <a:r>
              <a:rPr lang="en-US" sz="1100" b="1" dirty="0">
                <a:latin typeface="Proximus Bold"/>
              </a:rPr>
              <a:t>sell the building </a:t>
            </a:r>
            <a:endParaRPr lang="en-US" sz="1100" b="0" dirty="0">
              <a:latin typeface="Proximus Bold"/>
            </a:endParaRPr>
          </a:p>
          <a:p>
            <a:pPr marL="697230" lvl="2" indent="-285750">
              <a:buFont typeface="Arial"/>
              <a:buChar char="•"/>
            </a:pPr>
            <a:r>
              <a:rPr lang="en-US" sz="1100" b="0" dirty="0">
                <a:latin typeface="Proximus Bold"/>
              </a:rPr>
              <a:t>to replace it by </a:t>
            </a:r>
            <a:r>
              <a:rPr lang="en-US" sz="1100" b="1" dirty="0">
                <a:latin typeface="Proximus Bold"/>
              </a:rPr>
              <a:t>technical room </a:t>
            </a:r>
            <a:r>
              <a:rPr lang="en-US" sz="1100" b="0" dirty="0">
                <a:latin typeface="Proximus Bold"/>
              </a:rPr>
              <a:t>(Atropos), container (shelter </a:t>
            </a:r>
            <a:r>
              <a:rPr lang="en-US" sz="1100" b="0" dirty="0" err="1">
                <a:latin typeface="Proximus Bold"/>
              </a:rPr>
              <a:t>PoP</a:t>
            </a:r>
            <a:r>
              <a:rPr lang="en-US" sz="1100" b="0" dirty="0">
                <a:latin typeface="Proximus Bold"/>
              </a:rPr>
              <a:t> 20m²) or a passive cabinet (2m²)</a:t>
            </a:r>
          </a:p>
          <a:p>
            <a:pPr marL="697230" lvl="2" indent="-285750">
              <a:buFont typeface="Arial"/>
              <a:buChar char="•"/>
            </a:pPr>
            <a:r>
              <a:rPr lang="en-US" sz="1100" b="0" dirty="0">
                <a:latin typeface="Proximus Bold"/>
              </a:rPr>
              <a:t>to phase out the </a:t>
            </a:r>
            <a:r>
              <a:rPr lang="en-US" sz="1100" b="1" dirty="0">
                <a:latin typeface="Proximus Bold"/>
              </a:rPr>
              <a:t>copper feeding </a:t>
            </a:r>
            <a:r>
              <a:rPr lang="en-US" sz="1100" b="0" dirty="0">
                <a:latin typeface="Proximus Bold"/>
              </a:rPr>
              <a:t>network </a:t>
            </a:r>
          </a:p>
          <a:p>
            <a:pPr marL="205740" lvl="1" indent="0">
              <a:buFont typeface="Arial"/>
              <a:buNone/>
            </a:pPr>
            <a:endParaRPr lang="en-US" sz="1100" b="1" dirty="0">
              <a:latin typeface="Proximus Bold"/>
            </a:endParaRPr>
          </a:p>
          <a:p>
            <a:pPr marL="205740" lvl="1" indent="0">
              <a:buFont typeface="Arial"/>
              <a:buNone/>
            </a:pPr>
            <a:r>
              <a:rPr lang="en-US" sz="1100" b="0" dirty="0">
                <a:latin typeface="Proximus Bold"/>
              </a:rPr>
              <a:t>* A typical phase-out is a </a:t>
            </a:r>
            <a:r>
              <a:rPr lang="en-US" sz="1100" b="1" dirty="0">
                <a:latin typeface="Proximus Bold"/>
              </a:rPr>
              <a:t>3 years </a:t>
            </a:r>
            <a:r>
              <a:rPr lang="en-US" sz="1100" b="0" dirty="0" err="1">
                <a:latin typeface="Proximus Bold"/>
              </a:rPr>
              <a:t>uo</a:t>
            </a:r>
            <a:r>
              <a:rPr lang="en-US" sz="1100" b="0" dirty="0">
                <a:latin typeface="Proximus Bold"/>
              </a:rPr>
              <a:t> to </a:t>
            </a:r>
            <a:r>
              <a:rPr lang="en-US" sz="1100" b="1" dirty="0">
                <a:latin typeface="Proximus Bold"/>
              </a:rPr>
              <a:t>5 years </a:t>
            </a:r>
            <a:r>
              <a:rPr lang="en-US" sz="1100" b="0" dirty="0">
                <a:latin typeface="Proximus Bold"/>
              </a:rPr>
              <a:t>work, from </a:t>
            </a:r>
            <a:r>
              <a:rPr lang="en-US" sz="1100" b="1" dirty="0">
                <a:latin typeface="Proximus Bold"/>
              </a:rPr>
              <a:t>design </a:t>
            </a:r>
            <a:r>
              <a:rPr lang="en-US" sz="1100" b="0" dirty="0">
                <a:latin typeface="Proximus Bold"/>
              </a:rPr>
              <a:t>to </a:t>
            </a:r>
            <a:r>
              <a:rPr lang="en-US" sz="1100" b="1" dirty="0">
                <a:latin typeface="Proximus Bold"/>
              </a:rPr>
              <a:t>phase-out </a:t>
            </a:r>
          </a:p>
          <a:p>
            <a:pPr marL="205740" lvl="1" indent="0">
              <a:buFont typeface="Arial"/>
              <a:buNone/>
            </a:pPr>
            <a:endParaRPr lang="en-US" sz="1200" b="1" dirty="0">
              <a:latin typeface="Proximus Bold"/>
            </a:endParaRPr>
          </a:p>
          <a:p>
            <a:pPr marL="491490" lvl="1" indent="-285750">
              <a:buFont typeface="Arial"/>
              <a:buChar char="•"/>
            </a:pPr>
            <a:endParaRPr lang="nl-BE" sz="1200" dirty="0"/>
          </a:p>
          <a:p>
            <a:endParaRPr lang="nl-BE" sz="500" dirty="0"/>
          </a:p>
          <a:p>
            <a:pPr marL="491490" lvl="1" indent="-285750">
              <a:buFont typeface="Arial"/>
              <a:buChar char="•"/>
            </a:pPr>
            <a:endParaRPr lang="en-US" sz="1200" b="0" dirty="0">
              <a:latin typeface="Proximus Bold"/>
            </a:endParaRPr>
          </a:p>
          <a:p>
            <a:pPr marL="205740" lvl="1" indent="0">
              <a:buFont typeface="Arial"/>
              <a:buNone/>
            </a:pPr>
            <a:r>
              <a:rPr lang="en-US" sz="1200" b="1" dirty="0">
                <a:latin typeface="Proximus Bold"/>
              </a:rPr>
              <a:t>  </a:t>
            </a:r>
          </a:p>
          <a:p>
            <a:pPr marL="491490" lvl="1" indent="-285750">
              <a:buFont typeface="Arial"/>
              <a:buChar char="•"/>
            </a:pPr>
            <a:endParaRPr lang="nl-BE" sz="1200" dirty="0"/>
          </a:p>
          <a:p>
            <a:endParaRPr lang="nl-BE" sz="500" dirty="0"/>
          </a:p>
        </p:txBody>
      </p:sp>
      <p:sp>
        <p:nvSpPr>
          <p:cNvPr id="4" name="Tijdelijke aanduiding voor dianummer 3">
            <a:extLst>
              <a:ext uri="{FF2B5EF4-FFF2-40B4-BE49-F238E27FC236}">
                <a16:creationId xmlns:a16="http://schemas.microsoft.com/office/drawing/2014/main" id="{3170F245-7257-8C5A-1565-743462104877}"/>
              </a:ext>
            </a:extLst>
          </p:cNvPr>
          <p:cNvSpPr>
            <a:spLocks noGrp="1"/>
          </p:cNvSpPr>
          <p:nvPr>
            <p:ph type="sldNum" sz="quarter" idx="5"/>
          </p:nvPr>
        </p:nvSpPr>
        <p:spPr/>
        <p:txBody>
          <a:bodyPr/>
          <a:lstStyle/>
          <a:p>
            <a:fld id="{FA918F22-1231-AB43-96E7-2B8B890DCD5E}" type="slidenum">
              <a:rPr lang="en-US" smtClean="0"/>
              <a:pPr/>
              <a:t>34</a:t>
            </a:fld>
            <a:endParaRPr lang="en-US"/>
          </a:p>
        </p:txBody>
      </p:sp>
    </p:spTree>
    <p:extLst>
      <p:ext uri="{BB962C8B-B14F-4D97-AF65-F5344CB8AC3E}">
        <p14:creationId xmlns:p14="http://schemas.microsoft.com/office/powerpoint/2010/main" val="39731624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0F28C-44AE-E14D-57E4-3F87C7ABA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E1AE67-E3DE-52B8-902C-8CB839F9F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DEAE1E-80BF-9791-6B9A-E2B3E5E9EC7E}"/>
              </a:ext>
            </a:extLst>
          </p:cNvPr>
          <p:cNvSpPr>
            <a:spLocks noGrp="1"/>
          </p:cNvSpPr>
          <p:nvPr>
            <p:ph type="body" idx="1"/>
          </p:nvPr>
        </p:nvSpPr>
        <p:spPr/>
        <p:txBody>
          <a:bodyPr/>
          <a:lstStyle/>
          <a:p>
            <a:r>
              <a:rPr lang="en-US" b="1" u="sng" dirty="0">
                <a:latin typeface="Calibri"/>
                <a:ea typeface="Calibri"/>
                <a:cs typeface="Calibri"/>
              </a:rPr>
              <a:t>PATRICK</a:t>
            </a:r>
          </a:p>
          <a:p>
            <a:endParaRPr lang="en-US" dirty="0">
              <a:latin typeface="Calibri"/>
              <a:ea typeface="Calibri"/>
              <a:cs typeface="Calibri"/>
            </a:endParaRPr>
          </a:p>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CFD233FA-6D8D-E93E-99B2-E9CB1D8BF496}"/>
              </a:ext>
            </a:extLst>
          </p:cNvPr>
          <p:cNvSpPr>
            <a:spLocks noGrp="1"/>
          </p:cNvSpPr>
          <p:nvPr>
            <p:ph type="sldNum" sz="quarter" idx="5"/>
          </p:nvPr>
        </p:nvSpPr>
        <p:spPr/>
        <p:txBody>
          <a:bodyPr/>
          <a:lstStyle/>
          <a:p>
            <a:fld id="{FA918F22-1231-AB43-96E7-2B8B890DCD5E}" type="slidenum">
              <a:rPr lang="en-US" smtClean="0"/>
              <a:pPr/>
              <a:t>35</a:t>
            </a:fld>
            <a:endParaRPr lang="en-US"/>
          </a:p>
        </p:txBody>
      </p:sp>
    </p:spTree>
    <p:extLst>
      <p:ext uri="{BB962C8B-B14F-4D97-AF65-F5344CB8AC3E}">
        <p14:creationId xmlns:p14="http://schemas.microsoft.com/office/powerpoint/2010/main" val="270829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sz="1100" b="1" u="sng">
                <a:latin typeface="Proximus Bold"/>
              </a:rPr>
              <a:t>PATRICK</a:t>
            </a:r>
            <a:endParaRPr lang="en-US" sz="1100" b="1" u="sng"/>
          </a:p>
          <a:p>
            <a:pPr marL="491490" lvl="1" indent="-285750">
              <a:buFont typeface="Arial"/>
              <a:buChar char="•"/>
            </a:pPr>
            <a:r>
              <a:rPr lang="en-US" sz="1100">
                <a:latin typeface="Proximus Bold"/>
              </a:rPr>
              <a:t>We want to define and implement an </a:t>
            </a:r>
            <a:r>
              <a:rPr lang="en-US" sz="1100" b="1">
                <a:latin typeface="Proximus Bold"/>
              </a:rPr>
              <a:t>optimal Proximus organizational structure</a:t>
            </a:r>
            <a:r>
              <a:rPr lang="en-US" sz="1100">
                <a:latin typeface="Proximus Bold"/>
              </a:rPr>
              <a:t> that ensures efficient and customer-centric </a:t>
            </a:r>
            <a:r>
              <a:rPr lang="en-US" sz="1100" b="1">
                <a:latin typeface="Proximus Bold"/>
              </a:rPr>
              <a:t>Fiber Repair and Maintenance</a:t>
            </a:r>
            <a:r>
              <a:rPr lang="en-US" sz="1100">
                <a:latin typeface="Proximus Bold"/>
              </a:rPr>
              <a:t> activities, on our own footprint and embracing over time the consolidated JV footprints (Fiberklaar, </a:t>
            </a:r>
            <a:r>
              <a:rPr lang="en-US" sz="1100" err="1">
                <a:latin typeface="Proximus Bold"/>
              </a:rPr>
              <a:t>Gofiber</a:t>
            </a:r>
            <a:r>
              <a:rPr lang="en-US" sz="1100">
                <a:latin typeface="Proximus Bold"/>
              </a:rPr>
              <a:t> &amp; </a:t>
            </a:r>
            <a:r>
              <a:rPr lang="en-US" sz="1100" err="1">
                <a:latin typeface="Proximus Bold"/>
              </a:rPr>
              <a:t>Unifiber</a:t>
            </a:r>
            <a:r>
              <a:rPr lang="en-US" sz="1100">
                <a:latin typeface="Proximus Bold"/>
              </a:rPr>
              <a:t>).</a:t>
            </a:r>
            <a:endParaRPr lang="nl-BE" sz="1100">
              <a:latin typeface="Proximus Bold"/>
            </a:endParaRPr>
          </a:p>
          <a:p>
            <a:pPr marL="491490" lvl="1" indent="-285750">
              <a:buFont typeface="Arial"/>
              <a:buChar char="•"/>
            </a:pPr>
            <a:r>
              <a:rPr lang="en-US" sz="1100">
                <a:latin typeface="Proximus Bold"/>
              </a:rPr>
              <a:t>For </a:t>
            </a:r>
            <a:r>
              <a:rPr lang="en-US" sz="1100" err="1">
                <a:latin typeface="Proximus Bold"/>
              </a:rPr>
              <a:t>Unifiber</a:t>
            </a:r>
            <a:r>
              <a:rPr lang="en-US" sz="1100">
                <a:latin typeface="Proximus Bold"/>
              </a:rPr>
              <a:t>, the Proximus vision is to provide O&amp;M servicing, for which we start pilot on two cities in 2025.</a:t>
            </a:r>
            <a:endParaRPr lang="nl-BE" sz="1100">
              <a:latin typeface="Proximus Bold"/>
            </a:endParaRPr>
          </a:p>
          <a:p>
            <a:pPr marL="491490" lvl="1" indent="-285750">
              <a:buFont typeface="Arial"/>
              <a:buChar char="•"/>
            </a:pPr>
            <a:r>
              <a:rPr lang="en-US" sz="1100">
                <a:latin typeface="Proximus Bold"/>
              </a:rPr>
              <a:t>Managing different footprints presents challenges in SLA management thanks to back-to-back agreements and to the timely availability of the super-NOC which integrates the new multi-access ecosystem for precise diagnosis and efficient dispatch.</a:t>
            </a:r>
            <a:endParaRPr lang="nl-BE" sz="1100">
              <a:latin typeface="Proximus Bold"/>
            </a:endParaRPr>
          </a:p>
          <a:p>
            <a:pPr marL="491490" lvl="1" indent="-285750">
              <a:buFont typeface="Arial"/>
              <a:buChar char="•"/>
            </a:pPr>
            <a:r>
              <a:rPr lang="en-US" sz="1100">
                <a:latin typeface="Proximus Bold"/>
              </a:rPr>
              <a:t>For the future Fiber Build activities required in rural zones as Oceania, we intend using an improved </a:t>
            </a:r>
            <a:r>
              <a:rPr lang="en-US" sz="1100" b="1">
                <a:latin typeface="Proximus Bold"/>
              </a:rPr>
              <a:t>GOFIT model</a:t>
            </a:r>
            <a:r>
              <a:rPr lang="en-US" sz="1100">
                <a:latin typeface="Proximus Bold"/>
              </a:rPr>
              <a:t> (i.e. construction by NEO teams, without Panda©) that could be leaner and even more cost effective </a:t>
            </a:r>
            <a:r>
              <a:rPr lang="en-US" sz="1100" b="1">
                <a:latin typeface="Proximus Bold"/>
              </a:rPr>
              <a:t>(</a:t>
            </a:r>
            <a:r>
              <a:rPr lang="en-US" sz="1100" b="1" err="1">
                <a:latin typeface="Proximus Bold"/>
              </a:rPr>
              <a:t>GOfitlight</a:t>
            </a:r>
            <a:r>
              <a:rPr lang="en-US" sz="1100" b="1">
                <a:latin typeface="Proximus Bold"/>
              </a:rPr>
              <a:t>)</a:t>
            </a:r>
            <a:r>
              <a:rPr lang="en-US" sz="1100">
                <a:latin typeface="Proximus Bold"/>
              </a:rPr>
              <a:t>.</a:t>
            </a:r>
            <a:endParaRPr lang="nl-BE" sz="1100">
              <a:latin typeface="Proximus Bold"/>
            </a:endParaRPr>
          </a:p>
          <a:p>
            <a:endParaRPr lang="nl-BE" sz="500"/>
          </a:p>
          <a:p>
            <a:endParaRPr lang="nl-BE" sz="500"/>
          </a:p>
        </p:txBody>
      </p:sp>
      <p:sp>
        <p:nvSpPr>
          <p:cNvPr id="4" name="Tijdelijke aanduiding voor dianummer 3"/>
          <p:cNvSpPr>
            <a:spLocks noGrp="1"/>
          </p:cNvSpPr>
          <p:nvPr>
            <p:ph type="sldNum" sz="quarter" idx="5"/>
          </p:nvPr>
        </p:nvSpPr>
        <p:spPr/>
        <p:txBody>
          <a:bodyPr/>
          <a:lstStyle/>
          <a:p>
            <a:fld id="{FA918F22-1231-AB43-96E7-2B8B890DCD5E}" type="slidenum">
              <a:rPr lang="en-US" smtClean="0"/>
              <a:pPr/>
              <a:t>36</a:t>
            </a:fld>
            <a:endParaRPr lang="en-US"/>
          </a:p>
        </p:txBody>
      </p:sp>
    </p:spTree>
    <p:extLst>
      <p:ext uri="{BB962C8B-B14F-4D97-AF65-F5344CB8AC3E}">
        <p14:creationId xmlns:p14="http://schemas.microsoft.com/office/powerpoint/2010/main" val="26529614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PATRICK</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800" b="0" u="none" dirty="0">
                <a:solidFill>
                  <a:schemeClr val="accent6"/>
                </a:solidFill>
              </a:rPr>
              <a:t>(on </a:t>
            </a:r>
            <a:r>
              <a:rPr lang="en-US" sz="800" b="0" u="none" dirty="0" err="1">
                <a:solidFill>
                  <a:schemeClr val="accent6"/>
                </a:solidFill>
              </a:rPr>
              <a:t>regardera</a:t>
            </a:r>
            <a:r>
              <a:rPr lang="en-US" sz="800" b="0" u="none" dirty="0">
                <a:solidFill>
                  <a:schemeClr val="accent6"/>
                </a:solidFill>
              </a:rPr>
              <a:t> </a:t>
            </a:r>
            <a:r>
              <a:rPr lang="en-US" sz="800" b="0" u="none" dirty="0" err="1">
                <a:solidFill>
                  <a:schemeClr val="accent6"/>
                </a:solidFill>
              </a:rPr>
              <a:t>vos</a:t>
            </a:r>
            <a:r>
              <a:rPr lang="en-US" sz="800" b="0" u="none" dirty="0">
                <a:solidFill>
                  <a:schemeClr val="accent6"/>
                </a:solidFill>
              </a:rPr>
              <a:t> </a:t>
            </a:r>
            <a:r>
              <a:rPr lang="en-US" sz="800" b="0" u="none" dirty="0" err="1">
                <a:solidFill>
                  <a:schemeClr val="accent6"/>
                </a:solidFill>
              </a:rPr>
              <a:t>réponses</a:t>
            </a:r>
            <a:r>
              <a:rPr lang="en-US" sz="800" b="0" u="none" dirty="0">
                <a:solidFill>
                  <a:schemeClr val="accent6"/>
                </a:solidFill>
              </a:rPr>
              <a:t> à la fin du slide </a:t>
            </a:r>
            <a:r>
              <a:rPr lang="en-US" sz="800" b="0" u="none" dirty="0" err="1">
                <a:solidFill>
                  <a:schemeClr val="accent6"/>
                </a:solidFill>
              </a:rPr>
              <a:t>suivant</a:t>
            </a:r>
            <a:r>
              <a:rPr lang="en-US" sz="800" b="0" u="none" dirty="0">
                <a:solidFill>
                  <a:schemeClr val="accent6"/>
                </a:solidFill>
              </a:rPr>
              <a:t> (Patrick </a:t>
            </a:r>
            <a:r>
              <a:rPr lang="en-US" sz="800" b="0" u="none" dirty="0" err="1">
                <a:solidFill>
                  <a:schemeClr val="accent6"/>
                </a:solidFill>
              </a:rPr>
              <a:t>regarde</a:t>
            </a:r>
            <a:r>
              <a:rPr lang="en-US" sz="800" b="0" u="none" dirty="0">
                <a:solidFill>
                  <a:schemeClr val="accent6"/>
                </a:solidFill>
              </a:rPr>
              <a:t> sur </a:t>
            </a:r>
            <a:r>
              <a:rPr lang="en-US" sz="800" b="0" u="none" dirty="0" err="1">
                <a:solidFill>
                  <a:schemeClr val="accent6"/>
                </a:solidFill>
              </a:rPr>
              <a:t>écran</a:t>
            </a:r>
            <a:r>
              <a:rPr lang="en-US" sz="800" b="0" u="none" dirty="0">
                <a:solidFill>
                  <a:schemeClr val="accent6"/>
                </a:solidFill>
              </a:rPr>
              <a:t> de </a:t>
            </a:r>
            <a:r>
              <a:rPr lang="en-US" sz="800" b="0" u="none" dirty="0" err="1">
                <a:solidFill>
                  <a:schemeClr val="accent6"/>
                </a:solidFill>
              </a:rPr>
              <a:t>contrôle</a:t>
            </a:r>
            <a:r>
              <a:rPr lang="en-US" sz="800" b="0" u="none" dirty="0">
                <a:solidFill>
                  <a:schemeClr val="accent6"/>
                </a:solidFill>
              </a:rPr>
              <a:t>)</a:t>
            </a:r>
            <a:endParaRPr lang="en-BE" sz="800" b="0" u="none" dirty="0">
              <a:solidFill>
                <a:schemeClr val="accent6"/>
              </a:solidFill>
            </a:endParaRPr>
          </a:p>
          <a:p>
            <a:endParaRPr lang="en-BE"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37</a:t>
            </a:fld>
            <a:endParaRPr lang="en-US"/>
          </a:p>
        </p:txBody>
      </p:sp>
    </p:spTree>
    <p:extLst>
      <p:ext uri="{BB962C8B-B14F-4D97-AF65-F5344CB8AC3E}">
        <p14:creationId xmlns:p14="http://schemas.microsoft.com/office/powerpoint/2010/main" val="8273293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500" b="1" u="sng" dirty="0">
                <a:latin typeface="Proximus Bold"/>
              </a:rPr>
              <a:t>PATRICK</a:t>
            </a:r>
            <a:endParaRPr lang="en-US" sz="500" b="1" u="sng" dirty="0">
              <a:latin typeface="Proximus Bold"/>
            </a:endParaRPr>
          </a:p>
          <a:p>
            <a:endParaRPr lang="en-US" sz="500" b="1" u="sng" dirty="0">
              <a:latin typeface="Proximus Bold"/>
            </a:endParaRPr>
          </a:p>
          <a:p>
            <a:pPr marL="251460" lvl="0" indent="0">
              <a:lnSpc>
                <a:spcPct val="107000"/>
              </a:lnSpc>
              <a:buFont typeface="+mj-lt"/>
              <a:buNone/>
            </a:pPr>
            <a:r>
              <a:rPr lang="en-US" sz="800" b="0" dirty="0">
                <a:solidFill>
                  <a:schemeClr val="accent6"/>
                </a:solidFill>
                <a:latin typeface="Proximus Bold"/>
              </a:rPr>
              <a:t>+ LOOK at the results of the </a:t>
            </a:r>
            <a:r>
              <a:rPr lang="en-US" sz="800" b="0" dirty="0" err="1">
                <a:solidFill>
                  <a:schemeClr val="accent6"/>
                </a:solidFill>
                <a:latin typeface="Proximus Bold"/>
              </a:rPr>
              <a:t>Slido</a:t>
            </a:r>
            <a:r>
              <a:rPr lang="en-US" sz="800" b="0" dirty="0">
                <a:solidFill>
                  <a:schemeClr val="accent6"/>
                </a:solidFill>
                <a:latin typeface="Proximus Bold"/>
              </a:rPr>
              <a:t> question</a:t>
            </a:r>
            <a:endParaRPr lang="en-BE" sz="800" b="0"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38</a:t>
            </a:fld>
            <a:endParaRPr lang="en-US"/>
          </a:p>
        </p:txBody>
      </p:sp>
    </p:spTree>
    <p:extLst>
      <p:ext uri="{BB962C8B-B14F-4D97-AF65-F5344CB8AC3E}">
        <p14:creationId xmlns:p14="http://schemas.microsoft.com/office/powerpoint/2010/main" val="33433833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A7C02-10B0-D5BD-E012-5AD813247A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5434B8-BE47-7102-D385-607756A83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22E704-0C53-D69C-B6A7-82235A2F858C}"/>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a:latin typeface="Proximus Bold"/>
            </a:endParaRPr>
          </a:p>
          <a:p>
            <a:r>
              <a:rPr lang="en-US" sz="1100" b="1" u="sng">
                <a:latin typeface="Proximus Bold"/>
              </a:rPr>
              <a:t>MAGALI</a:t>
            </a:r>
            <a:r>
              <a:rPr lang="en-US" sz="1100" b="1">
                <a:latin typeface="Proximus Bold"/>
              </a:rPr>
              <a:t> : </a:t>
            </a:r>
            <a:r>
              <a:rPr lang="en-US" sz="1100">
                <a:latin typeface="Proximus Bold"/>
              </a:rPr>
              <a:t>thank you all for your presentation. The road to our networks of the future is clearly still long, but our efficiency and automation initiatives will help us to get to our destination without too many bumps. And above all, we know it is the drivers, our amazing NBU colleagues, who will make the difference.</a:t>
            </a:r>
          </a:p>
          <a:p>
            <a:r>
              <a:rPr lang="en-US" sz="1100">
                <a:latin typeface="Proximus Bold"/>
              </a:rPr>
              <a:t>We will discover the 2 other pillars: Bold Future Proofness &amp; Bold People during the second part.</a:t>
            </a:r>
            <a:endParaRPr lang="en-US" sz="1100"/>
          </a:p>
          <a:p>
            <a:r>
              <a:rPr lang="en-US" sz="1100">
                <a:latin typeface="Proximus Bold"/>
              </a:rPr>
              <a:t>But now it is time for some rebellion in music. Curious about what it means? </a:t>
            </a:r>
            <a:endParaRPr lang="en-US" sz="1100"/>
          </a:p>
          <a:p>
            <a:r>
              <a:rPr lang="en-US" sz="1100">
                <a:latin typeface="Proximus Bold"/>
              </a:rPr>
              <a:t>We have the honor today to welcome the person who has been nominated as very first Chief Digital Officer in Belgium in 2018 </a:t>
            </a:r>
            <a:endParaRPr lang="en-US" sz="1100"/>
          </a:p>
          <a:p>
            <a:r>
              <a:rPr lang="en-US" sz="1100">
                <a:latin typeface="Proximus Bold"/>
              </a:rPr>
              <a:t>and who has enabled Belfius to win several awards, such as - the best digital bank of Belgium &amp; - the 2nd best mobile banking app in the world in 2020.</a:t>
            </a:r>
            <a:endParaRPr lang="en-US" sz="1100"/>
          </a:p>
          <a:p>
            <a:r>
              <a:rPr lang="en-US" sz="1100">
                <a:latin typeface="Proximus Bold"/>
              </a:rPr>
              <a:t>Ladies &amp; gentleman, please make a big round of applause for our second Geert of the day: Geert Van Mol !</a:t>
            </a:r>
            <a:endParaRPr lang="en-US" sz="1100"/>
          </a:p>
          <a:p>
            <a:endParaRPr lang="en-US" sz="1200" b="1">
              <a:latin typeface="Proximus Bold"/>
            </a:endParaRPr>
          </a:p>
          <a:p>
            <a:endParaRPr lang="nl-BE" sz="1200" b="0"/>
          </a:p>
        </p:txBody>
      </p:sp>
      <p:sp>
        <p:nvSpPr>
          <p:cNvPr id="4" name="Slide Number Placeholder 3">
            <a:extLst>
              <a:ext uri="{FF2B5EF4-FFF2-40B4-BE49-F238E27FC236}">
                <a16:creationId xmlns:a16="http://schemas.microsoft.com/office/drawing/2014/main" id="{0A19BF82-AA7A-5480-D667-0A2842C59796}"/>
              </a:ext>
            </a:extLst>
          </p:cNvPr>
          <p:cNvSpPr>
            <a:spLocks noGrp="1"/>
          </p:cNvSpPr>
          <p:nvPr>
            <p:ph type="sldNum" sz="quarter" idx="5"/>
          </p:nvPr>
        </p:nvSpPr>
        <p:spPr/>
        <p:txBody>
          <a:bodyPr/>
          <a:lstStyle/>
          <a:p>
            <a:fld id="{FA918F22-1231-AB43-96E7-2B8B890DCD5E}" type="slidenum">
              <a:rPr lang="en-US" smtClean="0"/>
              <a:pPr/>
              <a:t>39</a:t>
            </a:fld>
            <a:endParaRPr lang="en-US"/>
          </a:p>
        </p:txBody>
      </p:sp>
    </p:spTree>
    <p:extLst>
      <p:ext uri="{BB962C8B-B14F-4D97-AF65-F5344CB8AC3E}">
        <p14:creationId xmlns:p14="http://schemas.microsoft.com/office/powerpoint/2010/main" val="3894002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C2870-DB92-F7FA-0079-9672E81A6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45FD47-D98A-A028-6941-8224E7A6A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5DDA68-7846-190A-67D3-66D5F337E0B0}"/>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a:solidFill>
                  <a:schemeClr val="accent6"/>
                </a:solidFill>
                <a:latin typeface="Proximus Bold"/>
              </a:rPr>
              <a:t>MAGALI &amp; ROBIN </a:t>
            </a:r>
            <a:r>
              <a:rPr lang="en-US" sz="1100">
                <a:solidFill>
                  <a:schemeClr val="accent6"/>
                </a:solidFill>
                <a:latin typeface="Proximus Bold"/>
              </a:rPr>
              <a:t>on stage</a:t>
            </a:r>
          </a:p>
          <a:p>
            <a:r>
              <a:rPr lang="en-US" sz="1100" b="1" u="sng">
                <a:solidFill>
                  <a:schemeClr val="accent6"/>
                </a:solidFill>
                <a:latin typeface="Proximus Bold"/>
              </a:rPr>
              <a:t>ROBIN</a:t>
            </a:r>
            <a:r>
              <a:rPr lang="en-US" sz="1100">
                <a:solidFill>
                  <a:schemeClr val="accent6"/>
                </a:solidFill>
                <a:latin typeface="Proximus Bold"/>
              </a:rPr>
              <a:t> : </a:t>
            </a:r>
            <a:r>
              <a:rPr lang="nl-NL" sz="1100" b="0" i="0">
                <a:solidFill>
                  <a:schemeClr val="accent6"/>
                </a:solidFill>
                <a:effectLst/>
                <a:latin typeface="Segoe UI"/>
                <a:cs typeface="Segoe UI"/>
              </a:rPr>
              <a:t>Helemaal juist, Magali. Ik nodig iedereen in de zaal uit om de QR-code van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te scannen. Op die manier zullen ook jullie tijdens de presentatie kunnen deelnemen aan de quiz. En mochten jullie liever via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vragen stellen, kan dit dan ook via uw smartphone. </a:t>
            </a:r>
          </a:p>
          <a:p>
            <a:r>
              <a:rPr lang="nl-NL" sz="1100" b="0" i="0">
                <a:solidFill>
                  <a:schemeClr val="accent6"/>
                </a:solidFill>
                <a:effectLst/>
                <a:latin typeface="Segoe UI"/>
                <a:cs typeface="Segoe UI"/>
              </a:rPr>
              <a:t>Oké Magali, ik denk dat het dan nu tijd is in de content te duiken. Met veel plezier nodig ik dan de eerste Geert van de namiddag uit op het podium: Geert Standaert!</a:t>
            </a:r>
            <a:endParaRPr lang="en-US" sz="1100" b="0" i="0">
              <a:solidFill>
                <a:schemeClr val="accent6"/>
              </a:solidFill>
              <a:effectLst/>
              <a:cs typeface="Segoe UI"/>
            </a:endParaRPr>
          </a:p>
          <a:p>
            <a:endParaRPr lang="nl-NL" sz="1100">
              <a:solidFill>
                <a:schemeClr val="accent6"/>
              </a:solidFill>
              <a:latin typeface="Segoe UI"/>
              <a:cs typeface="Segoe UI"/>
            </a:endParaRPr>
          </a:p>
          <a:p>
            <a:r>
              <a:rPr lang="en-US" sz="1100" b="1">
                <a:solidFill>
                  <a:schemeClr val="accent6"/>
                </a:solidFill>
                <a:latin typeface="Proximus Bold"/>
              </a:rPr>
              <a:t>MAGALI OUT OF STAGE</a:t>
            </a:r>
            <a:endParaRPr lang="nl-NL" sz="1100">
              <a:solidFill>
                <a:schemeClr val="accent6"/>
              </a:solidFill>
            </a:endParaRPr>
          </a:p>
          <a:p>
            <a:endParaRPr lang="nl-NL" sz="1100">
              <a:solidFill>
                <a:srgbClr val="242424"/>
              </a:solidFill>
              <a:latin typeface="Segoe UI"/>
              <a:cs typeface="Segoe UI"/>
            </a:endParaRPr>
          </a:p>
          <a:p>
            <a:endParaRPr lang="nl-NL" sz="1100">
              <a:solidFill>
                <a:srgbClr val="242424"/>
              </a:solidFill>
              <a:latin typeface="Segoe UI"/>
              <a:cs typeface="Segoe UI"/>
            </a:endParaRPr>
          </a:p>
        </p:txBody>
      </p:sp>
      <p:sp>
        <p:nvSpPr>
          <p:cNvPr id="4" name="Slide Number Placeholder 3">
            <a:extLst>
              <a:ext uri="{FF2B5EF4-FFF2-40B4-BE49-F238E27FC236}">
                <a16:creationId xmlns:a16="http://schemas.microsoft.com/office/drawing/2014/main" id="{AC4ECC0C-741B-4BFC-B940-CCCC299B2D59}"/>
              </a:ext>
            </a:extLst>
          </p:cNvPr>
          <p:cNvSpPr>
            <a:spLocks noGrp="1"/>
          </p:cNvSpPr>
          <p:nvPr>
            <p:ph type="sldNum" sz="quarter" idx="5"/>
          </p:nvPr>
        </p:nvSpPr>
        <p:spPr/>
        <p:txBody>
          <a:bodyPr/>
          <a:lstStyle/>
          <a:p>
            <a:fld id="{FA918F22-1231-AB43-96E7-2B8B890DCD5E}" type="slidenum">
              <a:rPr lang="en-US" smtClean="0"/>
              <a:pPr/>
              <a:t>4</a:t>
            </a:fld>
            <a:endParaRPr lang="en-US"/>
          </a:p>
        </p:txBody>
      </p:sp>
    </p:spTree>
    <p:extLst>
      <p:ext uri="{BB962C8B-B14F-4D97-AF65-F5344CB8AC3E}">
        <p14:creationId xmlns:p14="http://schemas.microsoft.com/office/powerpoint/2010/main" val="39514799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FC2BD-DF2D-731D-781E-E2A79C5EB4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FE2C80-03E2-0368-DBCE-B2FD1442FB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33482B-B759-747F-A1DE-B86AE0129D32}"/>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nl-BE" sz="1100">
              <a:latin typeface="Proximus Bold"/>
            </a:endParaRPr>
          </a:p>
          <a:p>
            <a:r>
              <a:rPr lang="nl-BE" sz="1100" b="1" u="sng">
                <a:latin typeface="Proximus Bold"/>
              </a:rPr>
              <a:t>MAGALI</a:t>
            </a:r>
            <a:r>
              <a:rPr lang="nl-BE" sz="1100">
                <a:latin typeface="Proximus Bold"/>
              </a:rPr>
              <a:t> : </a:t>
            </a:r>
            <a:r>
              <a:rPr lang="nl-BE" sz="1100" err="1">
                <a:latin typeface="Proximus Bold"/>
              </a:rPr>
              <a:t>Hello</a:t>
            </a:r>
            <a:r>
              <a:rPr lang="nl-BE" sz="1100">
                <a:latin typeface="Proximus Bold"/>
              </a:rPr>
              <a:t> Geert, we are super </a:t>
            </a:r>
            <a:r>
              <a:rPr lang="nl-BE" sz="1100" err="1">
                <a:latin typeface="Proximus Bold"/>
              </a:rPr>
              <a:t>curious</a:t>
            </a:r>
            <a:r>
              <a:rPr lang="nl-BE" sz="1100">
                <a:latin typeface="Proximus Bold"/>
              </a:rPr>
              <a:t> </a:t>
            </a:r>
            <a:r>
              <a:rPr lang="nl-BE" sz="1100" err="1">
                <a:latin typeface="Proximus Bold"/>
              </a:rPr>
              <a:t>to</a:t>
            </a:r>
            <a:r>
              <a:rPr lang="nl-BE" sz="1100">
                <a:latin typeface="Proximus Bold"/>
              </a:rPr>
              <a:t> </a:t>
            </a:r>
            <a:r>
              <a:rPr lang="nl-BE" sz="1100" err="1">
                <a:latin typeface="Proximus Bold"/>
              </a:rPr>
              <a:t>know</a:t>
            </a:r>
            <a:r>
              <a:rPr lang="nl-BE" sz="1100">
                <a:latin typeface="Proximus Bold"/>
              </a:rPr>
              <a:t> more </a:t>
            </a:r>
            <a:r>
              <a:rPr lang="nl-BE" sz="1100" err="1">
                <a:latin typeface="Proximus Bold"/>
              </a:rPr>
              <a:t>about</a:t>
            </a:r>
            <a:r>
              <a:rPr lang="nl-BE" sz="1100">
                <a:latin typeface="Proximus Bold"/>
              </a:rPr>
              <a:t> </a:t>
            </a:r>
            <a:r>
              <a:rPr lang="nl-BE" sz="1100" err="1">
                <a:latin typeface="Proximus Bold"/>
              </a:rPr>
              <a:t>how</a:t>
            </a:r>
            <a:r>
              <a:rPr lang="nl-BE" sz="1100">
                <a:latin typeface="Proximus Bold"/>
              </a:rPr>
              <a:t> </a:t>
            </a:r>
            <a:r>
              <a:rPr lang="nl-BE" sz="1100" err="1">
                <a:latin typeface="Proximus Bold"/>
              </a:rPr>
              <a:t>your</a:t>
            </a:r>
            <a:r>
              <a:rPr lang="nl-BE" sz="1100">
                <a:latin typeface="Proximus Bold"/>
              </a:rPr>
              <a:t> </a:t>
            </a:r>
            <a:r>
              <a:rPr lang="nl-BE" sz="1100" err="1">
                <a:latin typeface="Proximus Bold"/>
              </a:rPr>
              <a:t>passion</a:t>
            </a:r>
            <a:r>
              <a:rPr lang="nl-BE" sz="1100">
                <a:latin typeface="Proximus Bold"/>
              </a:rPr>
              <a:t> </a:t>
            </a:r>
            <a:r>
              <a:rPr lang="nl-BE" sz="1100" err="1">
                <a:latin typeface="Proximus Bold"/>
              </a:rPr>
              <a:t>for</a:t>
            </a:r>
            <a:r>
              <a:rPr lang="nl-BE" sz="1100">
                <a:latin typeface="Proximus Bold"/>
              </a:rPr>
              <a:t> </a:t>
            </a:r>
            <a:r>
              <a:rPr lang="nl-BE" sz="1100" err="1">
                <a:latin typeface="Proximus Bold"/>
              </a:rPr>
              <a:t>music</a:t>
            </a:r>
            <a:r>
              <a:rPr lang="nl-BE" sz="1100">
                <a:latin typeface="Proximus Bold"/>
              </a:rPr>
              <a:t> and experience as a DJ has </a:t>
            </a:r>
            <a:r>
              <a:rPr lang="nl-BE" sz="1100" err="1">
                <a:latin typeface="Proximus Bold"/>
              </a:rPr>
              <a:t>also</a:t>
            </a:r>
            <a:r>
              <a:rPr lang="nl-BE" sz="1100">
                <a:latin typeface="Proximus Bold"/>
              </a:rPr>
              <a:t> </a:t>
            </a:r>
            <a:r>
              <a:rPr lang="nl-BE" sz="1100" err="1">
                <a:latin typeface="Proximus Bold"/>
              </a:rPr>
              <a:t>influenced</a:t>
            </a:r>
            <a:r>
              <a:rPr lang="nl-BE" sz="1100">
                <a:latin typeface="Proximus Bold"/>
              </a:rPr>
              <a:t> </a:t>
            </a:r>
            <a:r>
              <a:rPr lang="nl-BE" sz="1100" err="1">
                <a:latin typeface="Proximus Bold"/>
              </a:rPr>
              <a:t>your</a:t>
            </a:r>
            <a:r>
              <a:rPr lang="nl-BE" sz="1100">
                <a:latin typeface="Proximus Bold"/>
              </a:rPr>
              <a:t> </a:t>
            </a:r>
            <a:r>
              <a:rPr lang="nl-BE" sz="1100" err="1">
                <a:latin typeface="Proximus Bold"/>
              </a:rPr>
              <a:t>creativity</a:t>
            </a:r>
            <a:r>
              <a:rPr lang="nl-BE" sz="1100">
                <a:latin typeface="Proximus Bold"/>
              </a:rPr>
              <a:t>, </a:t>
            </a:r>
            <a:r>
              <a:rPr lang="nl-BE" sz="1100" err="1">
                <a:latin typeface="Proximus Bold"/>
              </a:rPr>
              <a:t>vision</a:t>
            </a:r>
            <a:r>
              <a:rPr lang="nl-BE" sz="1100">
                <a:latin typeface="Proximus Bold"/>
              </a:rPr>
              <a:t> and </a:t>
            </a:r>
            <a:r>
              <a:rPr lang="nl-BE" sz="1100" err="1">
                <a:latin typeface="Proximus Bold"/>
              </a:rPr>
              <a:t>strategy</a:t>
            </a:r>
            <a:r>
              <a:rPr lang="nl-BE" sz="1100">
                <a:latin typeface="Proximus Bold"/>
              </a:rPr>
              <a:t> in </a:t>
            </a:r>
            <a:r>
              <a:rPr lang="nl-BE" sz="1100" err="1">
                <a:latin typeface="Proximus Bold"/>
              </a:rPr>
              <a:t>the</a:t>
            </a:r>
            <a:r>
              <a:rPr lang="nl-BE" sz="1100">
                <a:latin typeface="Proximus Bold"/>
              </a:rPr>
              <a:t> corporate </a:t>
            </a:r>
            <a:r>
              <a:rPr lang="nl-BE" sz="1100" err="1">
                <a:latin typeface="Proximus Bold"/>
              </a:rPr>
              <a:t>world</a:t>
            </a:r>
            <a:r>
              <a:rPr lang="nl-BE" sz="1100">
                <a:latin typeface="Proximus Bold"/>
              </a:rPr>
              <a:t> … </a:t>
            </a:r>
            <a:r>
              <a:rPr lang="nl-BE" sz="1100" err="1">
                <a:latin typeface="Proximus Bold"/>
              </a:rPr>
              <a:t>now</a:t>
            </a:r>
            <a:r>
              <a:rPr lang="nl-BE" sz="1100">
                <a:latin typeface="Proximus Bold"/>
              </a:rPr>
              <a:t> Geert, </a:t>
            </a:r>
            <a:r>
              <a:rPr lang="nl-BE" sz="1100" err="1">
                <a:latin typeface="Proximus Bold"/>
              </a:rPr>
              <a:t>the</a:t>
            </a:r>
            <a:r>
              <a:rPr lang="nl-BE" sz="1100">
                <a:latin typeface="Proximus Bold"/>
              </a:rPr>
              <a:t> floor is </a:t>
            </a:r>
            <a:r>
              <a:rPr lang="nl-BE" sz="1100" err="1">
                <a:latin typeface="Proximus Bold"/>
              </a:rPr>
              <a:t>yours</a:t>
            </a:r>
            <a:r>
              <a:rPr lang="nl-BE" sz="1100">
                <a:latin typeface="Proximus Bold"/>
              </a:rPr>
              <a:t>…</a:t>
            </a:r>
          </a:p>
          <a:p>
            <a:endParaRPr lang="nl-BE" sz="1100">
              <a:latin typeface="Proximus Bold"/>
            </a:endParaRPr>
          </a:p>
          <a:p>
            <a:r>
              <a:rPr lang="nl-BE" sz="1100" b="1">
                <a:latin typeface="Proximus Bold"/>
              </a:rPr>
              <a:t>SWITCH TO </a:t>
            </a:r>
            <a:r>
              <a:rPr lang="nl-BE" sz="1100">
                <a:latin typeface="Proximus Bold"/>
              </a:rPr>
              <a:t>Geert Van Mol </a:t>
            </a:r>
            <a:r>
              <a:rPr lang="nl-BE" sz="1100" err="1">
                <a:latin typeface="Proximus Bold"/>
              </a:rPr>
              <a:t>presentation</a:t>
            </a:r>
            <a:endParaRPr lang="nl-BE" sz="1100">
              <a:latin typeface="Proximus Bold"/>
            </a:endParaRPr>
          </a:p>
          <a:p>
            <a:endParaRPr lang="nl-BE" sz="1100">
              <a:latin typeface="Proximus Bold"/>
            </a:endParaRPr>
          </a:p>
          <a:p>
            <a:r>
              <a:rPr lang="nl-BE" sz="1100" b="1" u="sng">
                <a:latin typeface="Proximus Bold"/>
              </a:rPr>
              <a:t>MAGALI OUT of stage</a:t>
            </a:r>
          </a:p>
          <a:p>
            <a:endParaRPr lang="en-GB" sz="500">
              <a:latin typeface="Proximus Bold"/>
            </a:endParaRPr>
          </a:p>
        </p:txBody>
      </p:sp>
      <p:sp>
        <p:nvSpPr>
          <p:cNvPr id="4" name="Slide Number Placeholder 3">
            <a:extLst>
              <a:ext uri="{FF2B5EF4-FFF2-40B4-BE49-F238E27FC236}">
                <a16:creationId xmlns:a16="http://schemas.microsoft.com/office/drawing/2014/main" id="{D1C4DD15-5290-98DE-98A9-0101F1F4F05B}"/>
              </a:ext>
            </a:extLst>
          </p:cNvPr>
          <p:cNvSpPr>
            <a:spLocks noGrp="1"/>
          </p:cNvSpPr>
          <p:nvPr>
            <p:ph type="sldNum" sz="quarter" idx="5"/>
          </p:nvPr>
        </p:nvSpPr>
        <p:spPr/>
        <p:txBody>
          <a:bodyPr/>
          <a:lstStyle/>
          <a:p>
            <a:fld id="{FA918F22-1231-AB43-96E7-2B8B890DCD5E}" type="slidenum">
              <a:rPr lang="en-US" smtClean="0"/>
              <a:pPr/>
              <a:t>40</a:t>
            </a:fld>
            <a:endParaRPr lang="en-US"/>
          </a:p>
        </p:txBody>
      </p:sp>
    </p:spTree>
    <p:extLst>
      <p:ext uri="{BB962C8B-B14F-4D97-AF65-F5344CB8AC3E}">
        <p14:creationId xmlns:p14="http://schemas.microsoft.com/office/powerpoint/2010/main" val="3622486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51DF9-45FE-46F5-3BED-1FF943092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CF0A7C-E588-D4AD-0ED6-33118ECFE7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D874F-6EC4-3F50-9439-5B120A4B8D2D}"/>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pitchFamily="2" charset="77"/>
                <a:ea typeface="Aptos" panose="020B0004020202020204" pitchFamily="34" charset="0"/>
                <a:cs typeface="Arial" panose="020B0604020202020204" pitchFamily="34" charset="0"/>
              </a:rPr>
              <a:t>MAGALI </a:t>
            </a:r>
            <a:r>
              <a:rPr lang="en-US" sz="1100" u="sng" kern="10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nl-BE" sz="1100" b="0"/>
          </a:p>
          <a:p>
            <a:r>
              <a:rPr lang="nl-BE" sz="1100" b="1" u="sng">
                <a:latin typeface="Proximus Bold"/>
              </a:rPr>
              <a:t>MAGALI</a:t>
            </a:r>
            <a:r>
              <a:rPr lang="nl-BE" sz="1100" b="0">
                <a:latin typeface="Proximus Bold"/>
              </a:rPr>
              <a:t> : </a:t>
            </a:r>
            <a:r>
              <a:rPr lang="nl-BE" sz="1100" b="0" err="1">
                <a:latin typeface="Proximus Bold"/>
              </a:rPr>
              <a:t>thanks</a:t>
            </a:r>
            <a:r>
              <a:rPr lang="nl-BE" sz="1100" b="0">
                <a:latin typeface="Proximus Bold"/>
              </a:rPr>
              <a:t> a lot Geert</a:t>
            </a:r>
            <a:r>
              <a:rPr lang="nl-BE" sz="1100">
                <a:latin typeface="Proximus Bold"/>
              </a:rPr>
              <a:t>, </a:t>
            </a:r>
            <a:r>
              <a:rPr lang="nl-BE" sz="1100" err="1">
                <a:latin typeface="Proximus Bold"/>
              </a:rPr>
              <a:t>what</a:t>
            </a:r>
            <a:r>
              <a:rPr lang="nl-BE" sz="1100">
                <a:latin typeface="Proximus Bold"/>
              </a:rPr>
              <a:t> </a:t>
            </a:r>
            <a:r>
              <a:rPr lang="nl-BE" sz="1100" err="1">
                <a:latin typeface="Proximus Bold"/>
              </a:rPr>
              <a:t>an</a:t>
            </a:r>
            <a:r>
              <a:rPr lang="nl-BE" sz="1100">
                <a:latin typeface="Proximus Bold"/>
              </a:rPr>
              <a:t> </a:t>
            </a:r>
            <a:r>
              <a:rPr lang="nl-BE" sz="1100" err="1">
                <a:latin typeface="Proximus Bold"/>
              </a:rPr>
              <a:t>inspiring</a:t>
            </a:r>
            <a:r>
              <a:rPr lang="nl-BE" sz="1100">
                <a:latin typeface="Proximus Bold"/>
              </a:rPr>
              <a:t> </a:t>
            </a:r>
            <a:r>
              <a:rPr lang="nl-BE" sz="1100" err="1">
                <a:latin typeface="Proximus Bold"/>
              </a:rPr>
              <a:t>keynote</a:t>
            </a:r>
            <a:r>
              <a:rPr lang="nl-BE" sz="1100">
                <a:latin typeface="Proximus Bold"/>
              </a:rPr>
              <a:t>.</a:t>
            </a:r>
            <a:r>
              <a:rPr lang="nl-BE" sz="1100" b="0">
                <a:latin typeface="Proximus Bold"/>
              </a:rPr>
              <a:t> </a:t>
            </a:r>
            <a:r>
              <a:rPr lang="nl-BE" sz="1100">
                <a:latin typeface="Proximus Bold"/>
              </a:rPr>
              <a:t>We </a:t>
            </a:r>
            <a:r>
              <a:rPr lang="nl-BE" sz="1100" err="1">
                <a:latin typeface="Proximus Bold"/>
              </a:rPr>
              <a:t>already</a:t>
            </a:r>
            <a:r>
              <a:rPr lang="nl-BE" sz="1100">
                <a:latin typeface="Proximus Bold"/>
              </a:rPr>
              <a:t> </a:t>
            </a:r>
            <a:r>
              <a:rPr lang="nl-BE" sz="1100" err="1">
                <a:latin typeface="Proximus Bold"/>
              </a:rPr>
              <a:t>knew</a:t>
            </a:r>
            <a:r>
              <a:rPr lang="nl-BE" sz="1100">
                <a:latin typeface="Proximus Bold"/>
              </a:rPr>
              <a:t> </a:t>
            </a:r>
            <a:r>
              <a:rPr lang="nl-BE" sz="1100" err="1">
                <a:latin typeface="Proximus Bold"/>
              </a:rPr>
              <a:t>that</a:t>
            </a:r>
            <a:r>
              <a:rPr lang="nl-BE" sz="1100">
                <a:latin typeface="Proximus Bold"/>
              </a:rPr>
              <a:t> </a:t>
            </a:r>
            <a:r>
              <a:rPr lang="nl-BE" sz="1100" err="1">
                <a:latin typeface="Proximus Bold"/>
              </a:rPr>
              <a:t>music</a:t>
            </a:r>
            <a:r>
              <a:rPr lang="nl-BE" sz="1100">
                <a:latin typeface="Proximus Bold"/>
              </a:rPr>
              <a:t> </a:t>
            </a:r>
            <a:r>
              <a:rPr lang="nl-BE" sz="1100" err="1">
                <a:latin typeface="Proximus Bold"/>
              </a:rPr>
              <a:t>could</a:t>
            </a:r>
            <a:r>
              <a:rPr lang="nl-BE" sz="1100">
                <a:latin typeface="Proximus Bold"/>
              </a:rPr>
              <a:t> </a:t>
            </a:r>
            <a:r>
              <a:rPr lang="nl-BE" sz="1100" err="1">
                <a:latin typeface="Proximus Bold"/>
              </a:rPr>
              <a:t>be</a:t>
            </a:r>
            <a:r>
              <a:rPr lang="nl-BE" sz="1100">
                <a:latin typeface="Proximus Bold"/>
              </a:rPr>
              <a:t> </a:t>
            </a:r>
            <a:r>
              <a:rPr lang="nl-BE" sz="1100" err="1">
                <a:latin typeface="Proximus Bold"/>
              </a:rPr>
              <a:t>relaxing</a:t>
            </a:r>
            <a:r>
              <a:rPr lang="nl-BE" sz="1100">
                <a:latin typeface="Proximus Bold"/>
              </a:rPr>
              <a:t>, </a:t>
            </a:r>
            <a:r>
              <a:rPr lang="nl-BE" sz="1100" err="1">
                <a:latin typeface="Proximus Bold"/>
              </a:rPr>
              <a:t>joyful</a:t>
            </a:r>
            <a:r>
              <a:rPr lang="nl-BE" sz="1100">
                <a:latin typeface="Proximus Bold"/>
              </a:rPr>
              <a:t>, and </a:t>
            </a:r>
            <a:r>
              <a:rPr lang="nl-BE" sz="1100" err="1">
                <a:latin typeface="Proximus Bold"/>
              </a:rPr>
              <a:t>bringing</a:t>
            </a:r>
            <a:r>
              <a:rPr lang="nl-BE" sz="1100">
                <a:latin typeface="Proximus Bold"/>
              </a:rPr>
              <a:t> </a:t>
            </a:r>
            <a:r>
              <a:rPr lang="nl-BE" sz="1100" err="1">
                <a:latin typeface="Proximus Bold"/>
              </a:rPr>
              <a:t>people</a:t>
            </a:r>
            <a:r>
              <a:rPr lang="nl-BE" sz="1100">
                <a:latin typeface="Proximus Bold"/>
              </a:rPr>
              <a:t> </a:t>
            </a:r>
            <a:r>
              <a:rPr lang="nl-BE" sz="1100" err="1">
                <a:latin typeface="Proximus Bold"/>
              </a:rPr>
              <a:t>together</a:t>
            </a:r>
            <a:r>
              <a:rPr lang="nl-BE" sz="1100">
                <a:latin typeface="Proximus Bold"/>
              </a:rPr>
              <a:t>, but </a:t>
            </a:r>
            <a:r>
              <a:rPr lang="nl-BE" sz="1100" err="1">
                <a:latin typeface="Proximus Bold"/>
              </a:rPr>
              <a:t>who</a:t>
            </a:r>
            <a:r>
              <a:rPr lang="nl-BE" sz="1100">
                <a:latin typeface="Proximus Bold"/>
              </a:rPr>
              <a:t> </a:t>
            </a:r>
            <a:r>
              <a:rPr lang="nl-BE" sz="1100" err="1">
                <a:latin typeface="Proximus Bold"/>
              </a:rPr>
              <a:t>knew</a:t>
            </a:r>
            <a:r>
              <a:rPr lang="nl-BE" sz="1100">
                <a:latin typeface="Proximus Bold"/>
              </a:rPr>
              <a:t> </a:t>
            </a:r>
            <a:r>
              <a:rPr lang="nl-BE" sz="1100" err="1">
                <a:latin typeface="Proximus Bold"/>
              </a:rPr>
              <a:t>that</a:t>
            </a:r>
            <a:r>
              <a:rPr lang="nl-BE" sz="1100">
                <a:latin typeface="Proximus Bold"/>
              </a:rPr>
              <a:t> </a:t>
            </a:r>
            <a:r>
              <a:rPr lang="nl-BE" sz="1100" err="1">
                <a:latin typeface="Proximus Bold"/>
              </a:rPr>
              <a:t>it</a:t>
            </a:r>
            <a:r>
              <a:rPr lang="nl-BE" sz="1100">
                <a:latin typeface="Proximus Bold"/>
              </a:rPr>
              <a:t> </a:t>
            </a:r>
            <a:r>
              <a:rPr lang="nl-BE" sz="1100" err="1">
                <a:latin typeface="Proximus Bold"/>
              </a:rPr>
              <a:t>would</a:t>
            </a:r>
            <a:r>
              <a:rPr lang="nl-BE" sz="1100">
                <a:latin typeface="Proximus Bold"/>
              </a:rPr>
              <a:t> </a:t>
            </a:r>
            <a:r>
              <a:rPr lang="nl-BE" sz="1100" err="1">
                <a:latin typeface="Proximus Bold"/>
              </a:rPr>
              <a:t>also</a:t>
            </a:r>
            <a:r>
              <a:rPr lang="nl-BE" sz="1100">
                <a:latin typeface="Proximus Bold"/>
              </a:rPr>
              <a:t> </a:t>
            </a:r>
            <a:r>
              <a:rPr lang="nl-BE" sz="1100" err="1">
                <a:latin typeface="Proximus Bold"/>
              </a:rPr>
              <a:t>be</a:t>
            </a:r>
            <a:r>
              <a:rPr lang="nl-BE" sz="1100">
                <a:latin typeface="Proximus Bold"/>
              </a:rPr>
              <a:t> a source of </a:t>
            </a:r>
            <a:r>
              <a:rPr lang="nl-BE" sz="1100" err="1">
                <a:latin typeface="Proximus Bold"/>
              </a:rPr>
              <a:t>inspiration</a:t>
            </a:r>
            <a:r>
              <a:rPr lang="nl-BE" sz="1100">
                <a:latin typeface="Proximus Bold"/>
              </a:rPr>
              <a:t> </a:t>
            </a:r>
            <a:r>
              <a:rPr lang="nl-BE" sz="1100" err="1">
                <a:latin typeface="Proximus Bold"/>
              </a:rPr>
              <a:t>for</a:t>
            </a:r>
            <a:r>
              <a:rPr lang="nl-BE" sz="1100">
                <a:latin typeface="Proximus Bold"/>
              </a:rPr>
              <a:t> digital thinking and a </a:t>
            </a:r>
            <a:r>
              <a:rPr lang="nl-BE" sz="1100" err="1">
                <a:latin typeface="Proximus Bold"/>
              </a:rPr>
              <a:t>successful</a:t>
            </a:r>
            <a:r>
              <a:rPr lang="nl-BE" sz="1100">
                <a:latin typeface="Proximus Bold"/>
              </a:rPr>
              <a:t> digital </a:t>
            </a:r>
            <a:r>
              <a:rPr lang="nl-BE" sz="1100" err="1">
                <a:latin typeface="Proximus Bold"/>
              </a:rPr>
              <a:t>transformation</a:t>
            </a:r>
            <a:r>
              <a:rPr lang="nl-BE" sz="1100">
                <a:latin typeface="Proximus Bold"/>
              </a:rPr>
              <a:t>.</a:t>
            </a:r>
          </a:p>
          <a:p>
            <a:r>
              <a:rPr lang="nl-BE" sz="1100" err="1">
                <a:latin typeface="Proximus Bold"/>
              </a:rPr>
              <a:t>Thanks</a:t>
            </a:r>
            <a:r>
              <a:rPr lang="nl-BE" sz="1100">
                <a:latin typeface="Proximus Bold"/>
              </a:rPr>
              <a:t> </a:t>
            </a:r>
            <a:r>
              <a:rPr lang="nl-BE" sz="1100" err="1">
                <a:latin typeface="Proximus Bold"/>
              </a:rPr>
              <a:t>again</a:t>
            </a:r>
            <a:r>
              <a:rPr lang="nl-BE" sz="1100">
                <a:latin typeface="Proximus Bold"/>
              </a:rPr>
              <a:t> Geert </a:t>
            </a:r>
            <a:r>
              <a:rPr lang="nl-BE" sz="1100" err="1">
                <a:latin typeface="Proximus Bold"/>
              </a:rPr>
              <a:t>for</a:t>
            </a:r>
            <a:r>
              <a:rPr lang="nl-BE" sz="1100">
                <a:latin typeface="Proximus Bold"/>
              </a:rPr>
              <a:t> </a:t>
            </a:r>
            <a:r>
              <a:rPr lang="nl-BE" sz="1100" err="1">
                <a:latin typeface="Proximus Bold"/>
              </a:rPr>
              <a:t>sharing</a:t>
            </a:r>
            <a:r>
              <a:rPr lang="nl-BE" sz="1100">
                <a:latin typeface="Proximus Bold"/>
              </a:rPr>
              <a:t> </a:t>
            </a:r>
            <a:r>
              <a:rPr lang="nl-BE" sz="1100" err="1">
                <a:latin typeface="Proximus Bold"/>
              </a:rPr>
              <a:t>your</a:t>
            </a:r>
            <a:r>
              <a:rPr lang="nl-BE" sz="1100">
                <a:latin typeface="Proximus Bold"/>
              </a:rPr>
              <a:t> expertise and </a:t>
            </a:r>
            <a:r>
              <a:rPr lang="nl-BE" sz="1100" err="1">
                <a:latin typeface="Proximus Bold"/>
              </a:rPr>
              <a:t>passion</a:t>
            </a:r>
            <a:r>
              <a:rPr lang="nl-BE" sz="1100">
                <a:latin typeface="Proximus Bold"/>
              </a:rPr>
              <a:t> </a:t>
            </a:r>
            <a:r>
              <a:rPr lang="nl-BE" sz="1100" err="1">
                <a:latin typeface="Proximus Bold"/>
              </a:rPr>
              <a:t>with</a:t>
            </a:r>
            <a:r>
              <a:rPr lang="nl-BE" sz="1100">
                <a:latin typeface="Proximus Bold"/>
              </a:rPr>
              <a:t> </a:t>
            </a:r>
            <a:r>
              <a:rPr lang="nl-BE" sz="1100" err="1">
                <a:latin typeface="Proximus Bold"/>
              </a:rPr>
              <a:t>us</a:t>
            </a:r>
            <a:r>
              <a:rPr lang="nl-BE" sz="1100">
                <a:latin typeface="Proximus Bold"/>
              </a:rPr>
              <a:t>!</a:t>
            </a:r>
            <a:endParaRPr lang="nl-BE" sz="1100"/>
          </a:p>
        </p:txBody>
      </p:sp>
      <p:sp>
        <p:nvSpPr>
          <p:cNvPr id="4" name="Slide Number Placeholder 3">
            <a:extLst>
              <a:ext uri="{FF2B5EF4-FFF2-40B4-BE49-F238E27FC236}">
                <a16:creationId xmlns:a16="http://schemas.microsoft.com/office/drawing/2014/main" id="{095F79C4-F9BF-AAD4-4B04-90AF1EB1705D}"/>
              </a:ext>
            </a:extLst>
          </p:cNvPr>
          <p:cNvSpPr>
            <a:spLocks noGrp="1"/>
          </p:cNvSpPr>
          <p:nvPr>
            <p:ph type="sldNum" sz="quarter" idx="5"/>
          </p:nvPr>
        </p:nvSpPr>
        <p:spPr/>
        <p:txBody>
          <a:bodyPr/>
          <a:lstStyle/>
          <a:p>
            <a:fld id="{FA918F22-1231-AB43-96E7-2B8B890DCD5E}" type="slidenum">
              <a:rPr lang="en-US" smtClean="0"/>
              <a:pPr/>
              <a:t>41</a:t>
            </a:fld>
            <a:endParaRPr lang="en-US"/>
          </a:p>
        </p:txBody>
      </p:sp>
    </p:spTree>
    <p:extLst>
      <p:ext uri="{BB962C8B-B14F-4D97-AF65-F5344CB8AC3E}">
        <p14:creationId xmlns:p14="http://schemas.microsoft.com/office/powerpoint/2010/main" val="22260563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a:ea typeface="Aptos" panose="020B0004020202020204" pitchFamily="34" charset="0"/>
                <a:cs typeface="Arial" panose="020B0604020202020204" pitchFamily="34" charset="0"/>
              </a:rPr>
              <a:t>MAGALI </a:t>
            </a:r>
            <a:r>
              <a:rPr lang="en-US" sz="1100" u="sng" kern="100" dirty="0">
                <a:solidFill>
                  <a:srgbClr val="C04F15"/>
                </a:solidFill>
                <a:effectLst/>
                <a:latin typeface="Proximus Light"/>
                <a:ea typeface="Aptos" panose="020B0004020202020204" pitchFamily="34" charset="0"/>
                <a:cs typeface="Arial" panose="020B0604020202020204" pitchFamily="34" charset="0"/>
              </a:rPr>
              <a:t>on stage </a:t>
            </a:r>
          </a:p>
          <a:p>
            <a:endParaRPr lang="en-US" dirty="0"/>
          </a:p>
          <a:p>
            <a:r>
              <a:rPr lang="en-US" sz="1100" b="1" u="sng" dirty="0">
                <a:latin typeface="Proximus Bold"/>
              </a:rPr>
              <a:t>MAGALI </a:t>
            </a:r>
            <a:r>
              <a:rPr lang="en-US" sz="1100" b="0" dirty="0">
                <a:latin typeface="Proximus Bold"/>
              </a:rPr>
              <a:t>: il </a:t>
            </a:r>
            <a:r>
              <a:rPr lang="en-US" sz="1100" b="0" dirty="0" err="1">
                <a:latin typeface="Proximus Bold"/>
              </a:rPr>
              <a:t>est</a:t>
            </a:r>
            <a:r>
              <a:rPr lang="en-US" sz="1100" b="0" dirty="0">
                <a:latin typeface="Proximus Bold"/>
              </a:rPr>
              <a:t> temps à </a:t>
            </a:r>
            <a:r>
              <a:rPr lang="en-US" sz="1100" b="0" dirty="0" err="1">
                <a:latin typeface="Proximus Bold"/>
              </a:rPr>
              <a:t>présent</a:t>
            </a:r>
            <a:r>
              <a:rPr lang="en-US" sz="1100" b="0" dirty="0">
                <a:latin typeface="Proximus Bold"/>
              </a:rPr>
              <a:t> de passer à </a:t>
            </a:r>
            <a:r>
              <a:rPr lang="en-US" sz="1100" b="0" dirty="0" err="1">
                <a:latin typeface="Proximus Bold"/>
              </a:rPr>
              <a:t>notre</a:t>
            </a:r>
            <a:r>
              <a:rPr lang="en-US" sz="1100" b="0" dirty="0">
                <a:latin typeface="Proximus Bold"/>
              </a:rPr>
              <a:t> 2ème </a:t>
            </a:r>
            <a:r>
              <a:rPr lang="en-US" sz="1100" b="0" dirty="0" err="1">
                <a:latin typeface="Proximus Bold"/>
              </a:rPr>
              <a:t>partie</a:t>
            </a:r>
            <a:r>
              <a:rPr lang="en-US" sz="1100" b="0" dirty="0">
                <a:latin typeface="Proximus Bold"/>
              </a:rPr>
              <a:t> de </a:t>
            </a:r>
            <a:r>
              <a:rPr lang="en-US" sz="1100" b="0" dirty="0" err="1">
                <a:latin typeface="Proximus Bold"/>
              </a:rPr>
              <a:t>notre</a:t>
            </a:r>
            <a:r>
              <a:rPr lang="en-US" sz="1100" b="0" dirty="0">
                <a:latin typeface="Proximus Bold"/>
              </a:rPr>
              <a:t> </a:t>
            </a:r>
            <a:r>
              <a:rPr lang="en-US" sz="1100" b="0" dirty="0" err="1">
                <a:latin typeface="Proximus Bold"/>
              </a:rPr>
              <a:t>stratégie</a:t>
            </a:r>
            <a:r>
              <a:rPr lang="en-US" sz="1100" b="0" dirty="0">
                <a:latin typeface="Proximus Bold"/>
              </a:rPr>
              <a:t> NBU 4.0… </a:t>
            </a:r>
            <a:endParaRPr lang="en-US" dirty="0"/>
          </a:p>
          <a:p>
            <a:r>
              <a:rPr lang="en-US" sz="1100" b="0" dirty="0" err="1">
                <a:latin typeface="Proximus Bold"/>
              </a:rPr>
              <a:t>J’invite</a:t>
            </a:r>
            <a:r>
              <a:rPr lang="en-US" sz="1100" b="0" dirty="0">
                <a:latin typeface="Proximus Bold"/>
              </a:rPr>
              <a:t> (encore ;-) Patrick, Laurent (Core &amp; COM solution Divisions Lead), Alex (Wholesale tribe and chapter Area Lead), et Gael. à me </a:t>
            </a:r>
            <a:r>
              <a:rPr lang="en-US" sz="1100" b="0" dirty="0" err="1">
                <a:latin typeface="Proximus Bold"/>
              </a:rPr>
              <a:t>rejoindre</a:t>
            </a:r>
            <a:r>
              <a:rPr lang="en-US" sz="1100" b="0" dirty="0">
                <a:latin typeface="Proximus Bold"/>
              </a:rPr>
              <a:t> sur le podium</a:t>
            </a:r>
            <a:r>
              <a:rPr lang="en-US" sz="1100" dirty="0">
                <a:latin typeface="Proximus Bold"/>
              </a:rPr>
              <a:t>, Gael, qui </a:t>
            </a:r>
            <a:r>
              <a:rPr lang="en-US" sz="1100" dirty="0" err="1">
                <a:latin typeface="Proximus Bold"/>
              </a:rPr>
              <a:t>est</a:t>
            </a:r>
            <a:r>
              <a:rPr lang="en-US" sz="1100" dirty="0">
                <a:latin typeface="Proximus Bold"/>
              </a:rPr>
              <a:t> </a:t>
            </a:r>
            <a:r>
              <a:rPr lang="en-US" sz="1100" dirty="0" err="1">
                <a:latin typeface="Proximus Bold"/>
              </a:rPr>
              <a:t>l'Epic</a:t>
            </a:r>
            <a:r>
              <a:rPr lang="en-US" sz="1100" dirty="0">
                <a:latin typeface="Proximus Bold"/>
              </a:rPr>
              <a:t> Owner dans la tribe Energy, et qui </a:t>
            </a:r>
            <a:r>
              <a:rPr lang="en-US" sz="1100" dirty="0" err="1">
                <a:latin typeface="Proximus Bold"/>
              </a:rPr>
              <a:t>remplace</a:t>
            </a:r>
            <a:r>
              <a:rPr lang="en-US" sz="1100" dirty="0">
                <a:latin typeface="Proximus Bold"/>
              </a:rPr>
              <a:t> </a:t>
            </a:r>
            <a:r>
              <a:rPr lang="en-US" sz="1100" dirty="0" err="1">
                <a:latin typeface="Proximus Bold"/>
              </a:rPr>
              <a:t>aujourd'hui</a:t>
            </a:r>
            <a:r>
              <a:rPr lang="en-US" sz="1100" dirty="0">
                <a:latin typeface="Proximus Bold"/>
              </a:rPr>
              <a:t> Stefan </a:t>
            </a:r>
            <a:r>
              <a:rPr lang="en-US" sz="1100" dirty="0" err="1">
                <a:latin typeface="Proximus Bold"/>
              </a:rPr>
              <a:t>Bovy</a:t>
            </a:r>
            <a:r>
              <a:rPr lang="en-US" sz="1100" dirty="0">
                <a:latin typeface="Proximus Bold"/>
              </a:rPr>
              <a:t> qui ne </a:t>
            </a:r>
            <a:r>
              <a:rPr lang="en-US" sz="1100" dirty="0" err="1">
                <a:latin typeface="Proximus Bold"/>
              </a:rPr>
              <a:t>pouvait</a:t>
            </a:r>
            <a:r>
              <a:rPr lang="en-US" sz="1100" dirty="0">
                <a:latin typeface="Proximus Bold"/>
              </a:rPr>
              <a:t> pas se </a:t>
            </a:r>
            <a:r>
              <a:rPr lang="en-US" sz="1100" dirty="0" err="1">
                <a:latin typeface="Proximus Bold"/>
              </a:rPr>
              <a:t>joindre</a:t>
            </a:r>
            <a:r>
              <a:rPr lang="en-US" sz="1100" dirty="0">
                <a:latin typeface="Proximus Bold"/>
              </a:rPr>
              <a:t> à nous. </a:t>
            </a:r>
            <a:endParaRPr lang="en-US" sz="1100" dirty="0"/>
          </a:p>
          <a:p>
            <a:endParaRPr lang="en-US" sz="1100"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2</a:t>
            </a:fld>
            <a:endParaRPr lang="en-US"/>
          </a:p>
        </p:txBody>
      </p:sp>
    </p:spTree>
    <p:extLst>
      <p:ext uri="{BB962C8B-B14F-4D97-AF65-F5344CB8AC3E}">
        <p14:creationId xmlns:p14="http://schemas.microsoft.com/office/powerpoint/2010/main" val="19604414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46FA7-79E6-E7E6-84C9-04A8601872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08F755-C798-2486-8D41-73C0B8537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254558-DB1A-16E1-3052-268FBA7879CD}"/>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0">
              <a:latin typeface="Proximus Bold"/>
            </a:endParaRPr>
          </a:p>
          <a:p>
            <a:r>
              <a:rPr lang="en-US" sz="1100" b="1" u="sng">
                <a:latin typeface="Proximus Bold"/>
              </a:rPr>
              <a:t>MAGALI </a:t>
            </a:r>
            <a:r>
              <a:rPr lang="en-US" sz="1100" b="0">
                <a:latin typeface="Proximus Bold"/>
              </a:rPr>
              <a:t>: nous </a:t>
            </a:r>
            <a:r>
              <a:rPr lang="en-US" sz="1100" b="0" err="1">
                <a:latin typeface="Proximus Bold"/>
              </a:rPr>
              <a:t>passons</a:t>
            </a:r>
            <a:r>
              <a:rPr lang="en-US" sz="1100" b="0">
                <a:latin typeface="Proximus Bold"/>
              </a:rPr>
              <a:t> </a:t>
            </a:r>
            <a:r>
              <a:rPr lang="en-US" sz="1100" b="0" err="1">
                <a:latin typeface="Proximus Bold"/>
              </a:rPr>
              <a:t>donc</a:t>
            </a:r>
            <a:r>
              <a:rPr lang="en-US" sz="1100" b="0">
                <a:latin typeface="Proximus Bold"/>
              </a:rPr>
              <a:t> au 3ème </a:t>
            </a:r>
            <a:r>
              <a:rPr lang="en-US" sz="1100" b="0" err="1">
                <a:latin typeface="Proximus Bold"/>
              </a:rPr>
              <a:t>pillier</a:t>
            </a:r>
            <a:r>
              <a:rPr lang="en-US" sz="1100" b="0">
                <a:latin typeface="Proximus Bold"/>
              </a:rPr>
              <a:t> de </a:t>
            </a:r>
            <a:r>
              <a:rPr lang="en-US" sz="1100" b="0" err="1">
                <a:latin typeface="Proximus Bold"/>
              </a:rPr>
              <a:t>notre</a:t>
            </a:r>
            <a:r>
              <a:rPr lang="en-US" sz="1100" b="0">
                <a:latin typeface="Proximus Bold"/>
              </a:rPr>
              <a:t> </a:t>
            </a:r>
            <a:r>
              <a:rPr lang="en-US" sz="1100" b="0" err="1">
                <a:latin typeface="Proximus Bold"/>
              </a:rPr>
              <a:t>stratégie</a:t>
            </a:r>
            <a:r>
              <a:rPr lang="en-US" sz="1100" b="0">
                <a:latin typeface="Proximus Bold"/>
              </a:rPr>
              <a:t> qui </a:t>
            </a:r>
            <a:r>
              <a:rPr lang="en-US" sz="1100" b="0" err="1">
                <a:latin typeface="Proximus Bold"/>
              </a:rPr>
              <a:t>s’intitule</a:t>
            </a:r>
            <a:r>
              <a:rPr lang="en-US" sz="1100" b="0">
                <a:latin typeface="Proximus Bold"/>
              </a:rPr>
              <a:t> “Bold future-proofness”. Patrick nous </a:t>
            </a:r>
            <a:r>
              <a:rPr lang="en-US" sz="1100" b="0" err="1">
                <a:latin typeface="Proximus Bold"/>
              </a:rPr>
              <a:t>commençons</a:t>
            </a:r>
            <a:r>
              <a:rPr lang="en-US" sz="1100" b="0">
                <a:latin typeface="Proximus Bold"/>
              </a:rPr>
              <a:t> avec </a:t>
            </a:r>
            <a:r>
              <a:rPr lang="en-US" sz="1100" b="0" err="1">
                <a:latin typeface="Proximus Bold"/>
              </a:rPr>
              <a:t>toi</a:t>
            </a:r>
            <a:r>
              <a:rPr lang="en-US" sz="1100" b="0">
                <a:latin typeface="Proximus Bold"/>
              </a:rPr>
              <a:t> je </a:t>
            </a:r>
            <a:r>
              <a:rPr lang="en-US" sz="1100" b="0" err="1">
                <a:latin typeface="Proximus Bold"/>
              </a:rPr>
              <a:t>pense</a:t>
            </a:r>
            <a:r>
              <a:rPr lang="en-US" sz="1100" b="0">
                <a:latin typeface="Proximus Bold"/>
              </a:rPr>
              <a:t> ? Que </a:t>
            </a:r>
            <a:r>
              <a:rPr lang="en-US" sz="1100" b="0" err="1">
                <a:latin typeface="Proximus Bold"/>
              </a:rPr>
              <a:t>peux-tu</a:t>
            </a:r>
            <a:r>
              <a:rPr lang="en-US" sz="1100" b="0">
                <a:latin typeface="Proximus Bold"/>
              </a:rPr>
              <a:t> nous dire </a:t>
            </a:r>
            <a:r>
              <a:rPr lang="en-US" sz="1100" b="0" err="1">
                <a:latin typeface="Proximus Bold"/>
              </a:rPr>
              <a:t>concernant</a:t>
            </a:r>
            <a:r>
              <a:rPr lang="en-US" sz="1100" b="0">
                <a:latin typeface="Proximus Bold"/>
              </a:rPr>
              <a:t> </a:t>
            </a:r>
            <a:r>
              <a:rPr lang="en-US" sz="1100" b="0" err="1">
                <a:latin typeface="Proximus Bold"/>
              </a:rPr>
              <a:t>nos</a:t>
            </a:r>
            <a:r>
              <a:rPr lang="en-US" sz="1100" b="0">
                <a:latin typeface="Proximus Bold"/>
              </a:rPr>
              <a:t> infrastructures </a:t>
            </a:r>
            <a:r>
              <a:rPr lang="en-US" sz="1100">
                <a:latin typeface="Proximus Bold"/>
              </a:rPr>
              <a:t>réseau</a:t>
            </a:r>
            <a:r>
              <a:rPr lang="en-US" sz="1100" b="0">
                <a:latin typeface="Proximus Bold"/>
              </a:rPr>
              <a:t>? </a:t>
            </a:r>
            <a:r>
              <a:rPr lang="en-US" sz="1100" b="0" err="1">
                <a:latin typeface="Proximus Bold"/>
              </a:rPr>
              <a:t>Seras-tu</a:t>
            </a:r>
            <a:r>
              <a:rPr lang="en-US" sz="1100" b="0">
                <a:latin typeface="Proximus Bold"/>
              </a:rPr>
              <a:t> </a:t>
            </a:r>
            <a:r>
              <a:rPr lang="en-US" sz="1100" b="0" err="1">
                <a:latin typeface="Proximus Bold"/>
              </a:rPr>
              <a:t>aussi</a:t>
            </a:r>
            <a:r>
              <a:rPr lang="en-US" sz="1100" b="0">
                <a:latin typeface="Proximus Bold"/>
              </a:rPr>
              <a:t> rock &amp; roll que Geert Van Mol ?</a:t>
            </a:r>
          </a:p>
          <a:p>
            <a:pPr>
              <a:lnSpc>
                <a:spcPct val="107000"/>
              </a:lnSpc>
              <a:spcAft>
                <a:spcPts val="800"/>
              </a:spcAft>
            </a:pPr>
            <a:endParaRPr lang="en-US" sz="1200" kern="100">
              <a:latin typeface="Proximus Light"/>
            </a:endParaRPr>
          </a:p>
        </p:txBody>
      </p:sp>
      <p:sp>
        <p:nvSpPr>
          <p:cNvPr id="4" name="Slide Number Placeholder 3">
            <a:extLst>
              <a:ext uri="{FF2B5EF4-FFF2-40B4-BE49-F238E27FC236}">
                <a16:creationId xmlns:a16="http://schemas.microsoft.com/office/drawing/2014/main" id="{50AF0657-49CA-C095-4289-6585F34673A6}"/>
              </a:ext>
            </a:extLst>
          </p:cNvPr>
          <p:cNvSpPr>
            <a:spLocks noGrp="1"/>
          </p:cNvSpPr>
          <p:nvPr>
            <p:ph type="sldNum" sz="quarter" idx="5"/>
          </p:nvPr>
        </p:nvSpPr>
        <p:spPr/>
        <p:txBody>
          <a:bodyPr/>
          <a:lstStyle/>
          <a:p>
            <a:fld id="{FA918F22-1231-AB43-96E7-2B8B890DCD5E}" type="slidenum">
              <a:rPr lang="en-US" smtClean="0"/>
              <a:pPr/>
              <a:t>43</a:t>
            </a:fld>
            <a:endParaRPr lang="en-US"/>
          </a:p>
        </p:txBody>
      </p:sp>
    </p:spTree>
    <p:extLst>
      <p:ext uri="{BB962C8B-B14F-4D97-AF65-F5344CB8AC3E}">
        <p14:creationId xmlns:p14="http://schemas.microsoft.com/office/powerpoint/2010/main" val="22789872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A69A2-5B99-7022-60C1-A696C6EF90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E39A2F-6F9B-9B73-E7DC-BD1B576282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7809B8-3477-1974-FB75-3D0F05CA1119}"/>
              </a:ext>
            </a:extLst>
          </p:cNvPr>
          <p:cNvSpPr>
            <a:spLocks noGrp="1"/>
          </p:cNvSpPr>
          <p:nvPr>
            <p:ph type="body" idx="1"/>
          </p:nvPr>
        </p:nvSpPr>
        <p:spPr/>
        <p:txBody>
          <a:bodyPr/>
          <a:lstStyle/>
          <a:p>
            <a:pPr marL="0" marR="0" lvl="0" indent="0" algn="l" defTabSz="411480" rtl="0" eaLnBrk="1" fontAlgn="auto" latinLnBrk="0" hangingPunct="1">
              <a:lnSpc>
                <a:spcPct val="90000"/>
              </a:lnSpc>
              <a:spcBef>
                <a:spcPts val="0"/>
              </a:spcBef>
              <a:spcAft>
                <a:spcPts val="0"/>
              </a:spcAft>
              <a:buClrTx/>
              <a:buSzTx/>
              <a:buFontTx/>
              <a:buNone/>
              <a:tabLst/>
              <a:defRPr/>
            </a:pPr>
            <a:r>
              <a:rPr kumimoji="0" lang="en-GB" sz="1100" b="1" i="0" u="sng" strike="noStrike" kern="1200" cap="none" spc="0" normalizeH="0" baseline="0" noProof="0">
                <a:ln>
                  <a:noFill/>
                </a:ln>
                <a:solidFill>
                  <a:srgbClr val="141C24"/>
                </a:solidFill>
                <a:effectLst/>
                <a:uLnTx/>
                <a:uFillTx/>
                <a:latin typeface="Proximus Light"/>
                <a:ea typeface="+mn-ea"/>
                <a:cs typeface="+mn-cs"/>
              </a:rPr>
              <a:t>PATRICK</a:t>
            </a:r>
            <a:endParaRPr kumimoji="0" lang="en-US" sz="1100" b="1" i="0" u="sng" strike="noStrike" kern="1200" cap="none" spc="0" normalizeH="0" baseline="0" noProof="0">
              <a:ln>
                <a:noFill/>
              </a:ln>
              <a:solidFill>
                <a:srgbClr val="000000"/>
              </a:solidFill>
              <a:effectLst/>
              <a:uLnTx/>
              <a:uFillTx/>
              <a:latin typeface="Proximus Bold" panose="00000500000000000000" pitchFamily="2" charset="0"/>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Backbone Networks </a:t>
            </a:r>
            <a:r>
              <a:rPr kumimoji="0" lang="en-GB" sz="1100" b="0" i="0" u="none" strike="noStrike" kern="1200" cap="none" spc="0" normalizeH="0" baseline="0" noProof="0">
                <a:ln>
                  <a:noFill/>
                </a:ln>
                <a:solidFill>
                  <a:srgbClr val="141C24"/>
                </a:solidFill>
                <a:effectLst/>
                <a:uLnTx/>
                <a:uFillTx/>
                <a:latin typeface="Proximus Bold"/>
                <a:ea typeface="+mn-ea"/>
                <a:cs typeface="+mn-cs"/>
              </a:rPr>
              <a:t>are 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twork Foundations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Over the past years, </a:t>
            </a:r>
            <a:r>
              <a:rPr kumimoji="0" lang="en-GB" sz="1100" b="1" i="0" u="none" strike="noStrike" kern="1200" cap="none" spc="0" normalizeH="0" baseline="0" noProof="0">
                <a:ln>
                  <a:noFill/>
                </a:ln>
                <a:solidFill>
                  <a:srgbClr val="141C24"/>
                </a:solidFill>
                <a:effectLst/>
                <a:uLnTx/>
                <a:uFillTx/>
                <a:latin typeface="Proximus Bold"/>
                <a:ea typeface="+mn-ea"/>
                <a:cs typeface="+mn-cs"/>
              </a:rPr>
              <a:t>we have significantly SIMPLIFIED </a:t>
            </a:r>
            <a:r>
              <a:rPr kumimoji="0" lang="en-GB" sz="1100" b="0" i="0" u="none" strike="noStrike" kern="1200" cap="none" spc="0" normalizeH="0" baseline="0" noProof="0">
                <a:ln>
                  <a:noFill/>
                </a:ln>
                <a:solidFill>
                  <a:srgbClr val="141C24"/>
                </a:solidFill>
                <a:effectLst/>
                <a:uLnTx/>
                <a:uFillTx/>
                <a:latin typeface="Proximus Bold"/>
                <a:ea typeface="+mn-ea"/>
                <a:cs typeface="+mn-cs"/>
              </a:rPr>
              <a:t>by phasing out legacy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NeON</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Erion</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SDH, Ethane MPLS, and BAS.</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oday, </a:t>
            </a:r>
            <a:r>
              <a:rPr kumimoji="0" lang="en-GB" sz="1100" b="1" i="0" u="none" strike="noStrike" kern="1200" cap="none" spc="0" normalizeH="0" baseline="0" noProof="0">
                <a:ln>
                  <a:noFill/>
                </a:ln>
                <a:solidFill>
                  <a:srgbClr val="141C24"/>
                </a:solidFill>
                <a:effectLst/>
                <a:uLnTx/>
                <a:uFillTx/>
                <a:latin typeface="Proximus Bold"/>
                <a:ea typeface="+mn-ea"/>
                <a:cs typeface="+mn-cs"/>
              </a:rPr>
              <a:t>ALL </a:t>
            </a: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Proximus services</a:t>
            </a:r>
            <a:r>
              <a:rPr kumimoji="0" lang="en-GB" sz="1100" b="0" i="0" u="none" strike="noStrike" kern="1200" cap="none" spc="0" normalizeH="0" baseline="0" noProof="0">
                <a:ln>
                  <a:noFill/>
                </a:ln>
                <a:solidFill>
                  <a:srgbClr val="141C24"/>
                </a:solidFill>
                <a:effectLst/>
                <a:uLnTx/>
                <a:uFillTx/>
                <a:latin typeface="Proximus Bold"/>
                <a:ea typeface="+mn-ea"/>
                <a:cs typeface="+mn-cs"/>
              </a:rPr>
              <a:t> run on our simple </a:t>
            </a:r>
            <a:r>
              <a:rPr kumimoji="0" lang="en-GB" sz="1100" b="1" i="0" u="none" strike="noStrike" kern="1200" cap="none" spc="0" normalizeH="0" baseline="0" noProof="0">
                <a:ln>
                  <a:noFill/>
                </a:ln>
                <a:solidFill>
                  <a:srgbClr val="141C24"/>
                </a:solidFill>
                <a:effectLst/>
                <a:uLnTx/>
                <a:uFillTx/>
                <a:latin typeface="Proximus Bold"/>
                <a:ea typeface="+mn-ea"/>
                <a:cs typeface="+mn-cs"/>
              </a:rPr>
              <a:t>dual-layer backbone</a:t>
            </a:r>
            <a:r>
              <a:rPr kumimoji="0" lang="en-GB" sz="1100" b="0" i="0" u="none" strike="noStrike" kern="1200" cap="none" spc="0" normalizeH="0" baseline="0" noProof="0">
                <a:ln>
                  <a:noFill/>
                </a:ln>
                <a:solidFill>
                  <a:srgbClr val="141C24"/>
                </a:solidFill>
                <a:effectLst/>
                <a:uLnTx/>
                <a:uFillTx/>
                <a:latin typeface="Proximus Bold"/>
                <a:ea typeface="+mn-ea"/>
                <a:cs typeface="+mn-cs"/>
              </a:rPr>
              <a:t> comprising </a:t>
            </a:r>
            <a:r>
              <a:rPr kumimoji="0" lang="en-GB" sz="1100" b="1" i="0" u="none" strike="noStrike" kern="1200" cap="none" spc="0" normalizeH="0" baseline="0" noProof="0">
                <a:ln>
                  <a:noFill/>
                </a:ln>
                <a:solidFill>
                  <a:srgbClr val="141C24"/>
                </a:solidFill>
                <a:effectLst/>
                <a:uLnTx/>
                <a:uFillTx/>
                <a:latin typeface="Proximus Bold"/>
                <a:ea typeface="+mn-ea"/>
                <a:cs typeface="+mn-cs"/>
              </a:rPr>
              <a:t>Simba Optical</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and </a:t>
            </a:r>
            <a:r>
              <a:rPr kumimoji="0" lang="en-GB" sz="1100" b="1" i="0" u="none" strike="noStrike" kern="1200" cap="none" spc="0" normalizeH="0" baseline="0" noProof="0">
                <a:ln>
                  <a:noFill/>
                </a:ln>
                <a:solidFill>
                  <a:srgbClr val="141C24"/>
                </a:solidFill>
                <a:effectLst/>
                <a:uLnTx/>
                <a:uFillTx/>
                <a:latin typeface="Proximus Bold"/>
                <a:ea typeface="+mn-ea"/>
                <a:cs typeface="+mn-cs"/>
              </a:rPr>
              <a:t>Titan IP</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simplified backbone is </a:t>
            </a:r>
            <a:r>
              <a:rPr kumimoji="0" lang="en-GB" sz="1100" b="1" i="0" u="none" strike="noStrike" kern="1200" cap="none" spc="0" normalizeH="0" baseline="0" noProof="0">
                <a:ln>
                  <a:noFill/>
                </a:ln>
                <a:solidFill>
                  <a:srgbClr val="141C24"/>
                </a:solidFill>
                <a:effectLst/>
                <a:uLnTx/>
                <a:uFillTx/>
                <a:latin typeface="Proximus Bold"/>
                <a:ea typeface="+mn-ea"/>
                <a:cs typeface="+mn-cs"/>
              </a:rPr>
              <a:t>scalable</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r>
              <a:rPr kumimoji="0" lang="en-GB" sz="1100" b="1" i="0" u="none" strike="noStrike" kern="1200" cap="none" spc="0" normalizeH="0" baseline="0" noProof="0">
                <a:ln>
                  <a:noFill/>
                </a:ln>
                <a:solidFill>
                  <a:srgbClr val="141C24"/>
                </a:solidFill>
                <a:effectLst/>
                <a:uLnTx/>
                <a:uFillTx/>
                <a:latin typeface="Proximus Bold"/>
                <a:ea typeface="+mn-ea"/>
                <a:cs typeface="+mn-cs"/>
              </a:rPr>
              <a:t>highly resilient</a:t>
            </a:r>
            <a:r>
              <a:rPr kumimoji="0" lang="en-GB" sz="1100" b="0" i="0" u="none" strike="noStrike" kern="1200" cap="none" spc="0" normalizeH="0" baseline="0" noProof="0">
                <a:ln>
                  <a:noFill/>
                </a:ln>
                <a:solidFill>
                  <a:srgbClr val="141C24"/>
                </a:solidFill>
                <a:effectLst/>
                <a:uLnTx/>
                <a:uFillTx/>
                <a:latin typeface="Proximus Bold"/>
                <a:ea typeface="+mn-ea"/>
                <a:cs typeface="+mn-cs"/>
              </a:rPr>
              <a:t>, and designed for </a:t>
            </a:r>
            <a:r>
              <a:rPr kumimoji="0" lang="en-GB" sz="1100" b="1" i="0" u="none" strike="noStrike" kern="1200" cap="none" spc="0" normalizeH="0" baseline="0" noProof="0">
                <a:ln>
                  <a:noFill/>
                </a:ln>
                <a:solidFill>
                  <a:srgbClr val="141C24"/>
                </a:solidFill>
                <a:effectLst/>
                <a:uLnTx/>
                <a:uFillTx/>
                <a:latin typeface="Proximus Bold"/>
                <a:ea typeface="+mn-ea"/>
                <a:cs typeface="+mn-cs"/>
              </a:rPr>
              <a:t>zero-saturation.</a:t>
            </a:r>
            <a:endParaRPr kumimoji="0" lang="en-US" sz="1100" b="1" i="0" u="none" strike="noStrike" kern="1200" cap="none" spc="0" normalizeH="0" baseline="0" noProof="0">
              <a:ln>
                <a:noFill/>
              </a:ln>
              <a:solidFill>
                <a:prstClr val="black"/>
              </a:solidFill>
              <a:effectLst/>
              <a:uLnTx/>
              <a:uFillTx/>
              <a:latin typeface="Proximus Bold"/>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Over the years to comes, </a:t>
            </a:r>
            <a:r>
              <a:rPr kumimoji="0" lang="en-GB" sz="1100" b="1" i="0" u="none" strike="noStrike" kern="1200" cap="none" spc="0" normalizeH="0" baseline="0" noProof="0">
                <a:ln>
                  <a:noFill/>
                </a:ln>
                <a:solidFill>
                  <a:srgbClr val="141C24"/>
                </a:solidFill>
                <a:effectLst/>
                <a:uLnTx/>
                <a:uFillTx/>
                <a:latin typeface="Proximus Bold"/>
                <a:ea typeface="+mn-ea"/>
                <a:cs typeface="+mn-cs"/>
              </a:rPr>
              <a:t>all those layers will evolve</a:t>
            </a: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Our </a:t>
            </a:r>
            <a:r>
              <a:rPr kumimoji="0" lang="en-GB" sz="1100" b="1" i="0" u="none" strike="noStrike" kern="1200" cap="none" spc="0" normalizeH="0" baseline="0" noProof="0">
                <a:ln>
                  <a:noFill/>
                </a:ln>
                <a:solidFill>
                  <a:srgbClr val="141C24"/>
                </a:solidFill>
                <a:effectLst/>
                <a:uLnTx/>
                <a:uFillTx/>
                <a:latin typeface="Proximus Bold"/>
                <a:ea typeface="+mn-ea"/>
                <a:cs typeface="+mn-cs"/>
              </a:rPr>
              <a:t>Backbone DWDM Simba Optical</a:t>
            </a:r>
            <a:r>
              <a:rPr kumimoji="0" lang="en-US" sz="1100" b="0" i="0" u="none" strike="noStrike" kern="1200" cap="none" spc="0" normalizeH="0" baseline="0" noProof="0">
                <a:ln>
                  <a:noFill/>
                </a:ln>
                <a:solidFill>
                  <a:srgbClr val="141C24"/>
                </a:solidFill>
                <a:effectLst/>
                <a:uLnTx/>
                <a:uFillTx/>
                <a:latin typeface="Proximus Bold"/>
                <a:ea typeface="+mn-ea"/>
                <a:cs typeface="+mn-cs"/>
              </a:rPr>
              <a:t> must comply to the </a:t>
            </a:r>
            <a:r>
              <a:rPr kumimoji="0" lang="en-GB" sz="1100" b="0" i="0" u="none" strike="noStrike" kern="1200" cap="none" spc="0" normalizeH="0" baseline="0" noProof="0">
                <a:ln>
                  <a:noFill/>
                </a:ln>
                <a:solidFill>
                  <a:srgbClr val="141C24"/>
                </a:solidFill>
                <a:effectLst/>
                <a:uLnTx/>
                <a:uFillTx/>
                <a:latin typeface="Proximus Bold"/>
                <a:ea typeface="+mn-ea"/>
                <a:cs typeface="+mn-cs"/>
              </a:rPr>
              <a:t>European </a:t>
            </a:r>
            <a:r>
              <a:rPr kumimoji="0" lang="en-GB" sz="1100" b="1" i="0" u="none" strike="noStrike" kern="1200" cap="none" spc="0" normalizeH="0" baseline="0" noProof="0">
                <a:ln>
                  <a:noFill/>
                </a:ln>
                <a:solidFill>
                  <a:srgbClr val="141C24"/>
                </a:solidFill>
                <a:effectLst/>
                <a:uLnTx/>
                <a:uFillTx/>
                <a:latin typeface="Proximus Bold"/>
                <a:ea typeface="+mn-ea"/>
                <a:cs typeface="+mn-cs"/>
              </a:rPr>
              <a:t>regulations</a:t>
            </a:r>
            <a:r>
              <a:rPr kumimoji="0" lang="en-GB" sz="1100" b="0" i="0" u="none" strike="noStrike" kern="1200" cap="none" spc="0" normalizeH="0" baseline="0" noProof="0">
                <a:ln>
                  <a:noFill/>
                </a:ln>
                <a:solidFill>
                  <a:srgbClr val="141C24"/>
                </a:solidFill>
                <a:effectLst/>
                <a:uLnTx/>
                <a:uFillTx/>
                <a:latin typeface="Proximus Bold"/>
                <a:ea typeface="+mn-ea"/>
                <a:cs typeface="+mn-cs"/>
              </a:rPr>
              <a:t> that </a:t>
            </a:r>
            <a:r>
              <a:rPr kumimoji="0" lang="en-GB" sz="1100" b="1" i="0" u="none" strike="noStrike" kern="1200" cap="none" spc="0" normalizeH="0" baseline="0" noProof="0">
                <a:ln>
                  <a:noFill/>
                </a:ln>
                <a:solidFill>
                  <a:srgbClr val="141C24"/>
                </a:solidFill>
                <a:effectLst/>
                <a:uLnTx/>
                <a:uFillTx/>
                <a:latin typeface="Proximus Bold"/>
                <a:ea typeface="+mn-ea"/>
                <a:cs typeface="+mn-cs"/>
              </a:rPr>
              <a:t>prohibit</a:t>
            </a:r>
            <a:r>
              <a:rPr kumimoji="0" lang="en-GB" sz="1100" b="0" i="0" u="none" strike="noStrike" kern="1200" cap="none" spc="0" normalizeH="0" baseline="0" noProof="0">
                <a:ln>
                  <a:noFill/>
                </a:ln>
                <a:solidFill>
                  <a:srgbClr val="141C24"/>
                </a:solidFill>
                <a:effectLst/>
                <a:uLnTx/>
                <a:uFillTx/>
                <a:latin typeface="Proximus Bold"/>
                <a:ea typeface="+mn-ea"/>
                <a:cs typeface="+mn-cs"/>
              </a:rPr>
              <a:t> High-Risk Vendors (</a:t>
            </a:r>
            <a:r>
              <a:rPr kumimoji="0" lang="en-GB" sz="1100" b="1" i="0" u="none" strike="noStrike" kern="1200" cap="none" spc="0" normalizeH="0" baseline="0" noProof="0">
                <a:ln>
                  <a:noFill/>
                </a:ln>
                <a:solidFill>
                  <a:srgbClr val="141C24"/>
                </a:solidFill>
                <a:effectLst/>
                <a:uLnTx/>
                <a:uFillTx/>
                <a:latin typeface="Proximus Bold"/>
                <a:ea typeface="+mn-ea"/>
                <a:cs typeface="+mn-cs"/>
              </a:rPr>
              <a:t>HRV</a:t>
            </a:r>
            <a:r>
              <a:rPr kumimoji="0" lang="en-GB" sz="1100" b="0" i="0" u="none" strike="noStrike" kern="1200" cap="none" spc="0" normalizeH="0" baseline="0" noProof="0">
                <a:ln>
                  <a:noFill/>
                </a:ln>
                <a:solidFill>
                  <a:srgbClr val="141C24"/>
                </a:solidFill>
                <a:effectLst/>
                <a:uLnTx/>
                <a:uFillTx/>
                <a:latin typeface="Proximus Bold"/>
                <a:ea typeface="+mn-ea"/>
                <a:cs typeface="+mn-cs"/>
              </a:rPr>
              <a:t>) .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forces a full replacement in </a:t>
            </a:r>
            <a:r>
              <a:rPr kumimoji="0" lang="en-GB" sz="1100" b="1" i="0" u="none" strike="noStrike" kern="1200" cap="none" spc="0" normalizeH="0" baseline="0" noProof="0">
                <a:ln>
                  <a:noFill/>
                </a:ln>
                <a:solidFill>
                  <a:srgbClr val="141C24"/>
                </a:solidFill>
                <a:effectLst/>
                <a:uLnTx/>
                <a:uFillTx/>
                <a:latin typeface="Proximus Bold"/>
                <a:ea typeface="+mn-ea"/>
                <a:cs typeface="+mn-cs"/>
              </a:rPr>
              <a:t>several hundreds of buildings </a:t>
            </a:r>
            <a:r>
              <a:rPr kumimoji="0" lang="en-GB" sz="1100" b="0" i="0" u="none" strike="noStrike" kern="1200" cap="none" spc="0" normalizeH="0" baseline="0" noProof="0">
                <a:ln>
                  <a:noFill/>
                </a:ln>
                <a:solidFill>
                  <a:srgbClr val="141C24"/>
                </a:solidFill>
                <a:effectLst/>
                <a:uLnTx/>
                <a:uFillTx/>
                <a:latin typeface="Proximus Bold"/>
                <a:ea typeface="+mn-ea"/>
                <a:cs typeface="+mn-cs"/>
              </a:rPr>
              <a:t>of by the end of 2030. A </a:t>
            </a:r>
            <a:r>
              <a:rPr kumimoji="0" lang="en-GB" sz="1100" b="1" i="0" u="none" strike="noStrike" kern="1200" cap="none" spc="0" normalizeH="0" baseline="0" noProof="0">
                <a:ln>
                  <a:noFill/>
                </a:ln>
                <a:solidFill>
                  <a:srgbClr val="141C24"/>
                </a:solidFill>
                <a:effectLst/>
                <a:uLnTx/>
                <a:uFillTx/>
                <a:latin typeface="Proximus Bold"/>
                <a:ea typeface="+mn-ea"/>
                <a:cs typeface="+mn-cs"/>
              </a:rPr>
              <a:t>4-year </a:t>
            </a:r>
            <a:r>
              <a:rPr kumimoji="0" lang="en-GB" sz="1100" b="0" i="0" u="none" strike="noStrike" kern="1200" cap="none" spc="0" normalizeH="0" baseline="0" noProof="0">
                <a:ln>
                  <a:noFill/>
                </a:ln>
                <a:solidFill>
                  <a:srgbClr val="141C24"/>
                </a:solidFill>
                <a:effectLst/>
                <a:uLnTx/>
                <a:uFillTx/>
                <a:latin typeface="Proximus Bold"/>
                <a:ea typeface="+mn-ea"/>
                <a:cs typeface="+mn-cs"/>
              </a:rPr>
              <a:t>operational program to start end 2026</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We have initiated an </a:t>
            </a:r>
            <a:r>
              <a:rPr kumimoji="0" lang="en-GB" sz="1100" b="1" i="0" u="none" strike="noStrike" kern="1200" cap="none" spc="0" normalizeH="0" baseline="0" noProof="0">
                <a:ln>
                  <a:noFill/>
                </a:ln>
                <a:solidFill>
                  <a:srgbClr val="141C24"/>
                </a:solidFill>
                <a:effectLst/>
                <a:uLnTx/>
                <a:uFillTx/>
                <a:latin typeface="Proximus Bold"/>
                <a:ea typeface="+mn-ea"/>
                <a:cs typeface="+mn-cs"/>
              </a:rPr>
              <a:t>architecture redesign </a:t>
            </a:r>
            <a:r>
              <a:rPr kumimoji="0" lang="en-GB" sz="1100" b="0" i="0" u="none" strike="noStrike" kern="1200" cap="none" spc="0" normalizeH="0" baseline="0" noProof="0">
                <a:ln>
                  <a:noFill/>
                </a:ln>
                <a:solidFill>
                  <a:srgbClr val="141C24"/>
                </a:solidFill>
                <a:effectLst/>
                <a:uLnTx/>
                <a:uFillTx/>
                <a:latin typeface="Proximus Bold"/>
                <a:ea typeface="+mn-ea"/>
                <a:cs typeface="+mn-cs"/>
              </a:rPr>
              <a:t>study, considering also </a:t>
            </a:r>
            <a:r>
              <a:rPr kumimoji="0" lang="en-GB" sz="1100" b="1" i="0" u="none" strike="noStrike" kern="1200" cap="none" spc="0" normalizeH="0" baseline="0" noProof="0">
                <a:ln>
                  <a:noFill/>
                </a:ln>
                <a:solidFill>
                  <a:srgbClr val="141C24"/>
                </a:solidFill>
                <a:effectLst/>
                <a:uLnTx/>
                <a:uFillTx/>
                <a:latin typeface="Proximus Bold"/>
                <a:ea typeface="+mn-ea"/>
                <a:cs typeface="+mn-cs"/>
              </a:rPr>
              <a:t>Picasso</a:t>
            </a:r>
            <a:r>
              <a:rPr kumimoji="0" lang="en-GB" sz="1100" b="0" i="0" u="none" strike="noStrike" kern="1200" cap="none" spc="0" normalizeH="0" baseline="0" noProof="0">
                <a:ln>
                  <a:noFill/>
                </a:ln>
                <a:solidFill>
                  <a:srgbClr val="141C24"/>
                </a:solidFill>
                <a:effectLst/>
                <a:uLnTx/>
                <a:uFillTx/>
                <a:latin typeface="Proximus Bold"/>
                <a:ea typeface="+mn-ea"/>
                <a:cs typeface="+mn-cs"/>
              </a:rPr>
              <a:t>, and a market scan for Simba Optical renewal (new </a:t>
            </a:r>
            <a:r>
              <a:rPr kumimoji="0" lang="en-GB" sz="1100" b="1" i="0" u="none" strike="noStrike" kern="1200" cap="none" spc="0" normalizeH="0" baseline="0" noProof="0">
                <a:ln>
                  <a:noFill/>
                </a:ln>
                <a:solidFill>
                  <a:srgbClr val="141C24"/>
                </a:solidFill>
                <a:effectLst/>
                <a:uLnTx/>
                <a:uFillTx/>
                <a:latin typeface="Proximus Bold"/>
                <a:ea typeface="+mn-ea"/>
                <a:cs typeface="+mn-cs"/>
              </a:rPr>
              <a:t>NEURONE </a:t>
            </a:r>
            <a:r>
              <a:rPr kumimoji="0" lang="en-GB" sz="1100" b="0" i="0" u="none" strike="noStrike" kern="1200" cap="none" spc="0" normalizeH="0" baseline="0" noProof="0">
                <a:ln>
                  <a:noFill/>
                </a:ln>
                <a:solidFill>
                  <a:srgbClr val="141C24"/>
                </a:solidFill>
                <a:effectLst/>
                <a:uLnTx/>
                <a:uFillTx/>
                <a:latin typeface="Proximus Bold"/>
                <a:ea typeface="+mn-ea"/>
                <a:cs typeface="+mn-cs"/>
              </a:rPr>
              <a:t>Program).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offers options to further simplify our backbone. We will also need to consider the </a:t>
            </a:r>
            <a:r>
              <a:rPr kumimoji="0" lang="en-GB" sz="1100" b="1" i="0" u="none" strike="noStrike" kern="1200" cap="none" spc="0" normalizeH="0" baseline="0" noProof="0">
                <a:ln>
                  <a:noFill/>
                </a:ln>
                <a:solidFill>
                  <a:srgbClr val="141C24"/>
                </a:solidFill>
                <a:effectLst/>
                <a:uLnTx/>
                <a:uFillTx/>
                <a:latin typeface="Proximus Bold"/>
                <a:ea typeface="+mn-ea"/>
                <a:cs typeface="+mn-cs"/>
              </a:rPr>
              <a:t>Fiber Joint Venture </a:t>
            </a:r>
            <a:r>
              <a:rPr kumimoji="0" lang="en-GB" sz="1100" b="0" i="0" u="none" strike="noStrike" kern="1200" cap="none" spc="0" normalizeH="0" baseline="0" noProof="0">
                <a:ln>
                  <a:noFill/>
                </a:ln>
                <a:solidFill>
                  <a:srgbClr val="141C24"/>
                </a:solidFill>
                <a:effectLst/>
                <a:uLnTx/>
                <a:uFillTx/>
                <a:latin typeface="Proximus Bold"/>
                <a:ea typeface="+mn-ea"/>
                <a:cs typeface="+mn-cs"/>
              </a:rPr>
              <a:t>effect on those architectures.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Our backbones must remain </a:t>
            </a:r>
            <a:r>
              <a:rPr kumimoji="0" lang="en-GB" sz="1100" b="1" i="0" u="none" strike="noStrike" kern="1200" cap="none" spc="0" normalizeH="0" baseline="0" noProof="0">
                <a:ln>
                  <a:noFill/>
                </a:ln>
                <a:solidFill>
                  <a:srgbClr val="141C24"/>
                </a:solidFill>
                <a:effectLst/>
                <a:uLnTx/>
                <a:uFillTx/>
                <a:latin typeface="Proximus Bold"/>
                <a:ea typeface="+mn-ea"/>
                <a:cs typeface="+mn-cs"/>
              </a:rPr>
              <a:t>resilient</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r>
              <a:rPr kumimoji="0" lang="en-GB" sz="1100" b="1" i="0" u="none" strike="noStrike" kern="1200" cap="none" spc="0" normalizeH="0" baseline="0" noProof="0">
                <a:ln>
                  <a:noFill/>
                </a:ln>
                <a:solidFill>
                  <a:srgbClr val="141C24"/>
                </a:solidFill>
                <a:effectLst/>
                <a:uLnTx/>
                <a:uFillTx/>
                <a:latin typeface="Proximus Bold"/>
                <a:ea typeface="+mn-ea"/>
                <a:cs typeface="+mn-cs"/>
              </a:rPr>
              <a:t>cybersecure</a:t>
            </a:r>
            <a:r>
              <a:rPr kumimoji="0" lang="en-GB" sz="1100" b="0" i="0" u="none" strike="noStrike" kern="1200" cap="none" spc="0" normalizeH="0" baseline="0" noProof="0">
                <a:ln>
                  <a:noFill/>
                </a:ln>
                <a:solidFill>
                  <a:srgbClr val="141C24"/>
                </a:solidFill>
                <a:effectLst/>
                <a:uLnTx/>
                <a:uFillTx/>
                <a:latin typeface="Proximus Bold"/>
                <a:ea typeface="+mn-ea"/>
                <a:cs typeface="+mn-cs"/>
              </a:rPr>
              <a:t>, and evolve to a </a:t>
            </a:r>
            <a:r>
              <a:rPr kumimoji="0" lang="en-GB" sz="1100" b="1" i="0" u="none" strike="noStrike" kern="1200" cap="none" spc="0" normalizeH="0" baseline="0" noProof="0">
                <a:ln>
                  <a:noFill/>
                </a:ln>
                <a:solidFill>
                  <a:srgbClr val="141C24"/>
                </a:solidFill>
                <a:effectLst/>
                <a:uLnTx/>
                <a:uFillTx/>
                <a:latin typeface="Proximus Bold"/>
                <a:ea typeface="+mn-ea"/>
                <a:cs typeface="+mn-cs"/>
              </a:rPr>
              <a:t>quantum-safe</a:t>
            </a:r>
            <a:r>
              <a:rPr kumimoji="0" lang="en-GB" sz="1100" b="0" i="0" u="none" strike="noStrike" kern="1200" cap="none" spc="0" normalizeH="0" baseline="0" noProof="0">
                <a:ln>
                  <a:noFill/>
                </a:ln>
                <a:solidFill>
                  <a:srgbClr val="141C24"/>
                </a:solidFill>
                <a:effectLst/>
                <a:uLnTx/>
                <a:uFillTx/>
                <a:latin typeface="Proximus Bold"/>
                <a:ea typeface="+mn-ea"/>
                <a:cs typeface="+mn-cs"/>
              </a:rPr>
              <a:t> modus.</a:t>
            </a:r>
            <a:endParaRPr kumimoji="0" lang="en-GB" sz="1100" b="0" i="0" u="none" strike="noStrike" kern="1200" cap="none" spc="0" normalizeH="0" baseline="0" noProof="0">
              <a:ln>
                <a:noFill/>
              </a:ln>
              <a:solidFill>
                <a:prstClr val="black"/>
              </a:solidFill>
              <a:effectLst/>
              <a:uLnTx/>
              <a:uFillTx/>
              <a:latin typeface="Proximus Bold"/>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startAt="4"/>
              <a:tabLst/>
              <a:defRPr/>
            </a:pPr>
            <a:r>
              <a:rPr kumimoji="0" lang="en-GB" sz="1100" b="0" i="0" u="none" strike="noStrike" kern="1200" cap="none" spc="0" normalizeH="0" baseline="0" noProof="0">
                <a:ln>
                  <a:noFill/>
                </a:ln>
                <a:solidFill>
                  <a:prstClr val="black"/>
                </a:solidFill>
                <a:effectLst/>
                <a:uLnTx/>
                <a:uFillTx/>
                <a:latin typeface="Proximus Bold"/>
                <a:ea typeface="+mn-ea"/>
                <a:cs typeface="+mn-cs"/>
              </a:rPr>
              <a:t>Our </a:t>
            </a:r>
            <a:r>
              <a:rPr kumimoji="0" lang="en-GB" sz="1100" b="1" i="0" u="none" strike="noStrike" kern="1200" cap="none" spc="0" normalizeH="0" baseline="0" noProof="0">
                <a:ln>
                  <a:noFill/>
                </a:ln>
                <a:solidFill>
                  <a:prstClr val="black"/>
                </a:solidFill>
                <a:effectLst/>
                <a:uLnTx/>
                <a:uFillTx/>
                <a:latin typeface="Proximus Bold"/>
                <a:ea typeface="+mn-ea"/>
                <a:cs typeface="+mn-cs"/>
              </a:rPr>
              <a:t>IP Backbone Titan is </a:t>
            </a:r>
            <a:r>
              <a:rPr kumimoji="0" lang="en-GB" sz="1100" b="0" i="0" u="none" strike="noStrike" kern="1200" cap="none" spc="0" normalizeH="0" baseline="0" noProof="0">
                <a:ln>
                  <a:noFill/>
                </a:ln>
                <a:solidFill>
                  <a:prstClr val="black"/>
                </a:solidFill>
                <a:effectLst/>
                <a:uLnTx/>
                <a:uFillTx/>
                <a:latin typeface="Proximus Bold"/>
                <a:ea typeface="+mn-ea"/>
                <a:cs typeface="+mn-cs"/>
              </a:rPr>
              <a:t>today </a:t>
            </a:r>
            <a:r>
              <a:rPr kumimoji="0" lang="en-GB" sz="1100" b="0" i="0" u="none" strike="noStrike" kern="1200" cap="none" spc="0" normalizeH="0" baseline="0" noProof="0">
                <a:ln>
                  <a:noFill/>
                </a:ln>
                <a:solidFill>
                  <a:srgbClr val="141C24"/>
                </a:solidFill>
                <a:effectLst/>
                <a:uLnTx/>
                <a:uFillTx/>
                <a:latin typeface="Proximus Bold"/>
                <a:ea typeface="+mn-ea"/>
                <a:cs typeface="+mn-cs"/>
              </a:rPr>
              <a:t>supporting 7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Tbps</a:t>
            </a:r>
            <a:r>
              <a:rPr kumimoji="0" lang="en-GB" sz="1100" b="0" i="0" u="none" strike="noStrike" kern="1200" cap="none" spc="0" normalizeH="0" baseline="0" noProof="0">
                <a:ln>
                  <a:noFill/>
                </a:ln>
                <a:solidFill>
                  <a:srgbClr val="141C24"/>
                </a:solidFill>
                <a:effectLst/>
                <a:uLnTx/>
                <a:uFillTx/>
                <a:latin typeface="Proximus Bold"/>
                <a:ea typeface="+mn-ea"/>
                <a:cs typeface="+mn-cs"/>
              </a:rPr>
              <a:t> and is scalable to 40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Tbps</a:t>
            </a:r>
            <a:r>
              <a:rPr kumimoji="0" lang="en-GB" sz="1100" b="0" i="0" u="none" strike="noStrike" kern="1200" cap="none" spc="0" normalizeH="0" baseline="0" noProof="0">
                <a:ln>
                  <a:noFill/>
                </a:ln>
                <a:solidFill>
                  <a:srgbClr val="141C24"/>
                </a:solidFill>
                <a:effectLst/>
                <a:uLnTx/>
                <a:uFillTx/>
                <a:latin typeface="Proximus Bold"/>
                <a:ea typeface="+mn-ea"/>
                <a:cs typeface="+mn-cs"/>
              </a:rPr>
              <a:t> (x6), sufficient until 2030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But, depending on the demand for high-</a:t>
            </a:r>
            <a:r>
              <a:rPr kumimoji="0" lang="en-GB" sz="1100" b="0" i="0" u="none" strike="noStrike" kern="1200" cap="none" spc="0" normalizeH="0" baseline="0" noProof="0" err="1">
                <a:ln>
                  <a:noFill/>
                </a:ln>
                <a:solidFill>
                  <a:srgbClr val="141C24"/>
                </a:solidFill>
                <a:effectLst/>
                <a:uLnTx/>
                <a:uFillTx/>
                <a:latin typeface="Proximus Bold"/>
                <a:ea typeface="+mn-ea"/>
                <a:cs typeface="+mn-cs"/>
              </a:rPr>
              <a:t>fiber</a:t>
            </a:r>
            <a:r>
              <a:rPr kumimoji="0" lang="en-GB" sz="1100" b="0" i="0" u="none" strike="noStrike" kern="1200" cap="none" spc="0" normalizeH="0" baseline="0" noProof="0">
                <a:ln>
                  <a:noFill/>
                </a:ln>
                <a:solidFill>
                  <a:srgbClr val="141C24"/>
                </a:solidFill>
                <a:effectLst/>
                <a:uLnTx/>
                <a:uFillTx/>
                <a:latin typeface="Proximus Bold"/>
                <a:ea typeface="+mn-ea"/>
                <a:cs typeface="+mn-cs"/>
              </a:rPr>
              <a:t> services (10G/10G, 20G/20G, 50G/50G), this would require a Titan scale up with </a:t>
            </a:r>
            <a:r>
              <a:rPr kumimoji="0" lang="en-GB" sz="1100" b="1" i="0" u="none" strike="noStrike" kern="1200" cap="none" spc="0" normalizeH="0" baseline="0" noProof="0">
                <a:ln>
                  <a:noFill/>
                </a:ln>
                <a:solidFill>
                  <a:srgbClr val="141C24"/>
                </a:solidFill>
                <a:effectLst/>
                <a:uLnTx/>
                <a:uFillTx/>
                <a:latin typeface="Proximus Bold"/>
                <a:ea typeface="+mn-ea"/>
                <a:cs typeface="+mn-cs"/>
              </a:rPr>
              <a:t>100G interfaces</a:t>
            </a: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startAt="4"/>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For the </a:t>
            </a:r>
            <a:r>
              <a:rPr kumimoji="0" lang="en-GB" sz="1100" b="1" i="0" u="none" strike="noStrike" kern="1200" cap="none" spc="0" normalizeH="0" baseline="0" noProof="0">
                <a:ln>
                  <a:noFill/>
                </a:ln>
                <a:solidFill>
                  <a:srgbClr val="141C24"/>
                </a:solidFill>
                <a:effectLst/>
                <a:uLnTx/>
                <a:uFillTx/>
                <a:latin typeface="Proximus Bold"/>
                <a:ea typeface="+mn-ea"/>
                <a:cs typeface="+mn-cs"/>
              </a:rPr>
              <a:t>Access Fiber OLT - </a:t>
            </a:r>
            <a:r>
              <a:rPr kumimoji="0" lang="en-GB" sz="1100" b="0" i="0" u="none" strike="noStrike" kern="1200" cap="none" spc="0" normalizeH="0" baseline="0" noProof="0">
                <a:ln>
                  <a:noFill/>
                </a:ln>
                <a:solidFill>
                  <a:srgbClr val="141C24"/>
                </a:solidFill>
                <a:effectLst/>
                <a:uLnTx/>
                <a:uFillTx/>
                <a:latin typeface="Proximus Bold"/>
                <a:ea typeface="+mn-ea"/>
                <a:cs typeface="+mn-cs"/>
              </a:rPr>
              <a:t>The current generation delivers </a:t>
            </a:r>
            <a:r>
              <a:rPr kumimoji="0" lang="en-GB" sz="1100" b="1" i="0" u="none" strike="noStrike" kern="1200" cap="none" spc="0" normalizeH="0" baseline="0" noProof="0">
                <a:ln>
                  <a:noFill/>
                </a:ln>
                <a:solidFill>
                  <a:srgbClr val="141C24"/>
                </a:solidFill>
                <a:effectLst/>
                <a:uLnTx/>
                <a:uFillTx/>
                <a:latin typeface="Proximus Bold"/>
                <a:ea typeface="+mn-ea"/>
                <a:cs typeface="+mn-cs"/>
              </a:rPr>
              <a:t>10G/10G </a:t>
            </a:r>
            <a:r>
              <a:rPr kumimoji="0" lang="en-GB" sz="1100" b="0" i="0" u="none" strike="noStrike" kern="1200" cap="none" spc="0" normalizeH="0" baseline="0" noProof="0">
                <a:ln>
                  <a:noFill/>
                </a:ln>
                <a:solidFill>
                  <a:srgbClr val="141C24"/>
                </a:solidFill>
                <a:effectLst/>
                <a:uLnTx/>
                <a:uFillTx/>
                <a:latin typeface="Proximus Bold"/>
                <a:ea typeface="+mn-ea"/>
                <a:cs typeface="+mn-cs"/>
              </a:rPr>
              <a:t>and can support </a:t>
            </a:r>
            <a:r>
              <a:rPr kumimoji="0" lang="en-GB" sz="1100" b="1" i="0" u="none" strike="noStrike" kern="1200" cap="none" spc="0" normalizeH="0" baseline="0" noProof="0">
                <a:ln>
                  <a:noFill/>
                </a:ln>
                <a:solidFill>
                  <a:srgbClr val="141C24"/>
                </a:solidFill>
                <a:effectLst/>
                <a:uLnTx/>
                <a:uFillTx/>
                <a:latin typeface="Proximus Bold"/>
                <a:ea typeface="+mn-ea"/>
                <a:cs typeface="+mn-cs"/>
              </a:rPr>
              <a:t>25 GPON </a:t>
            </a:r>
            <a:r>
              <a:rPr kumimoji="0" lang="en-GB" sz="1100" b="0" i="0" u="none" strike="noStrike" kern="1200" cap="none" spc="0" normalizeH="0" baseline="0" noProof="0">
                <a:ln>
                  <a:noFill/>
                </a:ln>
                <a:solidFill>
                  <a:srgbClr val="141C24"/>
                </a:solidFill>
                <a:effectLst/>
                <a:uLnTx/>
                <a:uFillTx/>
                <a:latin typeface="Proximus Bold"/>
                <a:ea typeface="+mn-ea"/>
                <a:cs typeface="+mn-cs"/>
              </a:rPr>
              <a:t>(for </a:t>
            </a:r>
            <a:r>
              <a:rPr kumimoji="0" lang="en-GB" sz="1100" b="1" i="0" u="none" strike="noStrike" kern="1200" cap="none" spc="0" normalizeH="0" baseline="0" noProof="0">
                <a:ln>
                  <a:noFill/>
                </a:ln>
                <a:solidFill>
                  <a:srgbClr val="141C24"/>
                </a:solidFill>
                <a:effectLst/>
                <a:uLnTx/>
                <a:uFillTx/>
                <a:latin typeface="Proximus Bold"/>
                <a:ea typeface="+mn-ea"/>
                <a:cs typeface="+mn-cs"/>
              </a:rPr>
              <a:t>20G/20G </a:t>
            </a:r>
            <a:r>
              <a:rPr kumimoji="0" lang="en-GB" sz="1100" b="0" i="0" u="none" strike="noStrike" kern="1200" cap="none" spc="0" normalizeH="0" baseline="0" noProof="0">
                <a:ln>
                  <a:noFill/>
                </a:ln>
                <a:solidFill>
                  <a:srgbClr val="141C24"/>
                </a:solidFill>
                <a:effectLst/>
                <a:uLnTx/>
                <a:uFillTx/>
                <a:latin typeface="Proximus Bold"/>
                <a:ea typeface="+mn-ea"/>
                <a:cs typeface="+mn-cs"/>
              </a:rPr>
              <a:t>services</a:t>
            </a:r>
            <a:r>
              <a:rPr kumimoji="0" lang="en-GB" sz="1100" b="1" i="0" u="none" strike="noStrike" kern="1200" cap="none" spc="0" normalizeH="0" baseline="0" noProof="0">
                <a:ln>
                  <a:noFill/>
                </a:ln>
                <a:solidFill>
                  <a:srgbClr val="141C24"/>
                </a:solidFill>
                <a:effectLst/>
                <a:uLnTx/>
                <a:uFillTx/>
                <a:latin typeface="Proximus Bold"/>
                <a:ea typeface="+mn-ea"/>
                <a:cs typeface="+mn-cs"/>
              </a:rPr>
              <a:t>) </a:t>
            </a:r>
            <a:r>
              <a:rPr kumimoji="0" lang="en-GB" sz="1100" b="0" i="0" u="none" strike="noStrike" kern="1200" cap="none" spc="0" normalizeH="0" baseline="0" noProof="0">
                <a:ln>
                  <a:noFill/>
                </a:ln>
                <a:solidFill>
                  <a:srgbClr val="141C24"/>
                </a:solidFill>
                <a:effectLst/>
                <a:uLnTx/>
                <a:uFillTx/>
                <a:latin typeface="Proximus Bold"/>
                <a:ea typeface="+mn-ea"/>
                <a:cs typeface="+mn-cs"/>
              </a:rPr>
              <a:t>with a scale up of the </a:t>
            </a:r>
            <a:r>
              <a:rPr kumimoji="0" lang="en-GB" sz="1100" b="1" i="0" u="none" strike="noStrike" kern="1200" cap="none" spc="0" normalizeH="0" baseline="0" noProof="0">
                <a:ln>
                  <a:noFill/>
                </a:ln>
                <a:solidFill>
                  <a:srgbClr val="141C24"/>
                </a:solidFill>
                <a:effectLst/>
                <a:uLnTx/>
                <a:uFillTx/>
                <a:latin typeface="Proximus Bold"/>
                <a:ea typeface="+mn-ea"/>
                <a:cs typeface="+mn-cs"/>
              </a:rPr>
              <a:t>interfaces to 100G.</a:t>
            </a:r>
            <a:br>
              <a:rPr kumimoji="0" lang="en-GB" sz="1100" b="1"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xt generation </a:t>
            </a:r>
            <a:r>
              <a:rPr kumimoji="0" lang="en-GB" sz="1100" b="0" i="0" u="none" strike="noStrike" kern="1200" cap="none" spc="0" normalizeH="0" baseline="0" noProof="0">
                <a:ln>
                  <a:noFill/>
                </a:ln>
                <a:solidFill>
                  <a:srgbClr val="141C24"/>
                </a:solidFill>
                <a:effectLst/>
                <a:uLnTx/>
                <a:uFillTx/>
                <a:latin typeface="Proximus Bold"/>
                <a:ea typeface="+mn-ea"/>
                <a:cs typeface="+mn-cs"/>
              </a:rPr>
              <a:t>supporting </a:t>
            </a:r>
            <a:r>
              <a:rPr kumimoji="0" lang="en-GB" sz="1100" b="1" i="0" u="none" strike="noStrike" kern="1200" cap="none" spc="0" normalizeH="0" baseline="0" noProof="0">
                <a:ln>
                  <a:noFill/>
                </a:ln>
                <a:solidFill>
                  <a:srgbClr val="141C24"/>
                </a:solidFill>
                <a:effectLst/>
                <a:uLnTx/>
                <a:uFillTx/>
                <a:latin typeface="Proximus Bold"/>
                <a:ea typeface="+mn-ea"/>
                <a:cs typeface="+mn-cs"/>
              </a:rPr>
              <a:t>50G/50G </a:t>
            </a:r>
            <a:r>
              <a:rPr kumimoji="0" lang="en-GB" sz="1100" b="0" i="0" u="none" strike="noStrike" kern="1200" cap="none" spc="0" normalizeH="0" baseline="0" noProof="0">
                <a:ln>
                  <a:noFill/>
                </a:ln>
                <a:solidFill>
                  <a:srgbClr val="141C24"/>
                </a:solidFill>
                <a:effectLst/>
                <a:uLnTx/>
                <a:uFillTx/>
                <a:latin typeface="Proximus Bold"/>
                <a:ea typeface="+mn-ea"/>
                <a:cs typeface="+mn-cs"/>
              </a:rPr>
              <a:t>is expected to be needed </a:t>
            </a:r>
            <a:r>
              <a:rPr kumimoji="0" lang="en-GB" sz="1100" b="1" i="0" u="none" strike="noStrike" kern="1200" cap="none" spc="0" normalizeH="0" baseline="0" noProof="0">
                <a:ln>
                  <a:noFill/>
                </a:ln>
                <a:solidFill>
                  <a:srgbClr val="141C24"/>
                </a:solidFill>
                <a:effectLst/>
                <a:uLnTx/>
                <a:uFillTx/>
                <a:latin typeface="Proximus Bold"/>
                <a:ea typeface="+mn-ea"/>
                <a:cs typeface="+mn-cs"/>
              </a:rPr>
              <a:t>by 2033. </a:t>
            </a:r>
            <a:br>
              <a:rPr kumimoji="0" lang="en-GB" sz="1100" b="1"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o pave the way, we need to </a:t>
            </a:r>
            <a:r>
              <a:rPr kumimoji="0" lang="en-GB" sz="1100" b="1" i="0" u="none" strike="noStrike" kern="1200" cap="none" spc="0" normalizeH="0" baseline="0" noProof="0">
                <a:ln>
                  <a:noFill/>
                </a:ln>
                <a:solidFill>
                  <a:srgbClr val="141C24"/>
                </a:solidFill>
                <a:effectLst/>
                <a:uLnTx/>
                <a:uFillTx/>
                <a:latin typeface="Proximus Bold"/>
                <a:ea typeface="+mn-ea"/>
                <a:cs typeface="+mn-cs"/>
              </a:rPr>
              <a:t>completely review </a:t>
            </a: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IT stack </a:t>
            </a:r>
            <a:r>
              <a:rPr kumimoji="0" lang="en-GB" sz="1100" b="0" i="0" u="none" strike="noStrike" kern="1200" cap="none" spc="0" normalizeH="0" baseline="0" noProof="0">
                <a:ln>
                  <a:noFill/>
                </a:ln>
                <a:solidFill>
                  <a:srgbClr val="141C24"/>
                </a:solidFill>
                <a:effectLst/>
                <a:uLnTx/>
                <a:uFillTx/>
                <a:latin typeface="Proximus Bold"/>
                <a:ea typeface="+mn-ea"/>
                <a:cs typeface="+mn-cs"/>
              </a:rPr>
              <a:t>to support 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xt OSS generation , </a:t>
            </a:r>
            <a:r>
              <a:rPr kumimoji="0" lang="en-GB" sz="1100" b="0" i="0" u="none" strike="noStrike" kern="1200" cap="none" spc="0" normalizeH="0" baseline="0" noProof="0">
                <a:ln>
                  <a:noFill/>
                </a:ln>
                <a:solidFill>
                  <a:srgbClr val="141C24"/>
                </a:solidFill>
                <a:effectLst/>
                <a:uLnTx/>
                <a:uFillTx/>
                <a:latin typeface="Proximus Bold"/>
                <a:ea typeface="+mn-ea"/>
                <a:cs typeface="+mn-cs"/>
              </a:rPr>
              <a:t>being </a:t>
            </a:r>
            <a:r>
              <a:rPr kumimoji="0" lang="en-GB" sz="1100" b="1" i="0" u="none" strike="noStrike" kern="1200" cap="none" spc="0" normalizeH="0" baseline="0" noProof="0" err="1">
                <a:ln>
                  <a:noFill/>
                </a:ln>
                <a:solidFill>
                  <a:srgbClr val="141C24"/>
                </a:solidFill>
                <a:effectLst/>
                <a:uLnTx/>
                <a:uFillTx/>
                <a:latin typeface="Proximus Bold"/>
                <a:ea typeface="+mn-ea"/>
                <a:cs typeface="+mn-cs"/>
              </a:rPr>
              <a:t>NetCONfYang</a:t>
            </a:r>
            <a:r>
              <a:rPr kumimoji="0" lang="en-GB" sz="1100" b="1" i="0" u="none" strike="noStrike" kern="1200" cap="none" spc="0" normalizeH="0" baseline="0" noProof="0">
                <a:ln>
                  <a:noFill/>
                </a:ln>
                <a:solidFill>
                  <a:srgbClr val="141C24"/>
                </a:solidFill>
                <a:effectLst/>
                <a:uLnTx/>
                <a:uFillTx/>
                <a:latin typeface="Proximus Bold"/>
                <a:ea typeface="+mn-ea"/>
                <a:cs typeface="+mn-cs"/>
              </a:rPr>
              <a:t> as Altiplano.</a:t>
            </a:r>
            <a:endParaRPr kumimoji="0" lang="en-GB" sz="1100" b="1" i="0" u="none" strike="noStrike" kern="1200" cap="none" spc="0" normalizeH="0" baseline="0" noProof="0">
              <a:ln>
                <a:noFill/>
              </a:ln>
              <a:solidFill>
                <a:prstClr val="black"/>
              </a:solidFill>
              <a:effectLst/>
              <a:uLnTx/>
              <a:uFillTx/>
              <a:latin typeface="Proximus Bold"/>
              <a:ea typeface="+mn-ea"/>
              <a:cs typeface="+mn-cs"/>
            </a:endParaRPr>
          </a:p>
          <a:p>
            <a:pPr>
              <a:lnSpc>
                <a:spcPct val="107000"/>
              </a:lnSpc>
              <a:spcAft>
                <a:spcPts val="800"/>
              </a:spcAft>
            </a:pPr>
            <a:endParaRPr lang="en-BE">
              <a:solidFill>
                <a:srgbClr val="000000"/>
              </a:solidFill>
            </a:endParaRPr>
          </a:p>
        </p:txBody>
      </p:sp>
      <p:sp>
        <p:nvSpPr>
          <p:cNvPr id="4" name="Slide Number Placeholder 3">
            <a:extLst>
              <a:ext uri="{FF2B5EF4-FFF2-40B4-BE49-F238E27FC236}">
                <a16:creationId xmlns:a16="http://schemas.microsoft.com/office/drawing/2014/main" id="{BFEA84C6-6407-BD72-733F-DAB5004FEDBB}"/>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7192551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PATRICK</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700" b="0" u="none" dirty="0">
                <a:solidFill>
                  <a:schemeClr val="accent6"/>
                </a:solidFill>
              </a:rPr>
              <a:t>(on </a:t>
            </a:r>
            <a:r>
              <a:rPr lang="en-US" sz="700" b="0" u="none" dirty="0" err="1">
                <a:solidFill>
                  <a:schemeClr val="accent6"/>
                </a:solidFill>
              </a:rPr>
              <a:t>regardera</a:t>
            </a:r>
            <a:r>
              <a:rPr lang="en-US" sz="700" b="0" u="none" dirty="0">
                <a:solidFill>
                  <a:schemeClr val="accent6"/>
                </a:solidFill>
              </a:rPr>
              <a:t> </a:t>
            </a:r>
            <a:r>
              <a:rPr lang="en-US" sz="700" b="0" u="none" dirty="0" err="1">
                <a:solidFill>
                  <a:schemeClr val="accent6"/>
                </a:solidFill>
              </a:rPr>
              <a:t>vos</a:t>
            </a:r>
            <a:r>
              <a:rPr lang="en-US" sz="700" b="0" u="none" dirty="0">
                <a:solidFill>
                  <a:schemeClr val="accent6"/>
                </a:solidFill>
              </a:rPr>
              <a:t> </a:t>
            </a:r>
            <a:r>
              <a:rPr lang="en-US" sz="700" b="0" u="none" dirty="0" err="1">
                <a:solidFill>
                  <a:schemeClr val="accent6"/>
                </a:solidFill>
              </a:rPr>
              <a:t>réponses</a:t>
            </a:r>
            <a:r>
              <a:rPr lang="en-US" sz="700" b="0" u="none" dirty="0">
                <a:solidFill>
                  <a:schemeClr val="accent6"/>
                </a:solidFill>
              </a:rPr>
              <a:t> à la fin du slide </a:t>
            </a:r>
            <a:r>
              <a:rPr lang="en-US" sz="700" b="0" u="none" dirty="0" err="1">
                <a:solidFill>
                  <a:schemeClr val="accent6"/>
                </a:solidFill>
              </a:rPr>
              <a:t>suivant</a:t>
            </a:r>
            <a:r>
              <a:rPr lang="en-US" sz="700" b="0" u="none" dirty="0">
                <a:solidFill>
                  <a:schemeClr val="accent6"/>
                </a:solidFill>
              </a:rPr>
              <a:t> (Patrick </a:t>
            </a:r>
            <a:r>
              <a:rPr lang="en-US" sz="700" b="0" u="none" dirty="0" err="1">
                <a:solidFill>
                  <a:schemeClr val="accent6"/>
                </a:solidFill>
              </a:rPr>
              <a:t>regarde</a:t>
            </a:r>
            <a:r>
              <a:rPr lang="en-US" sz="700" b="0" u="none" dirty="0">
                <a:solidFill>
                  <a:schemeClr val="accent6"/>
                </a:solidFill>
              </a:rPr>
              <a:t> sur </a:t>
            </a:r>
            <a:r>
              <a:rPr lang="en-US" sz="700" b="0" u="none" dirty="0" err="1">
                <a:solidFill>
                  <a:schemeClr val="accent6"/>
                </a:solidFill>
              </a:rPr>
              <a:t>écran</a:t>
            </a:r>
            <a:r>
              <a:rPr lang="en-US" sz="700" b="0" u="none" dirty="0">
                <a:solidFill>
                  <a:schemeClr val="accent6"/>
                </a:solidFill>
              </a:rPr>
              <a:t> de </a:t>
            </a:r>
            <a:r>
              <a:rPr lang="en-US" sz="700" b="0" u="none" dirty="0" err="1">
                <a:solidFill>
                  <a:schemeClr val="accent6"/>
                </a:solidFill>
              </a:rPr>
              <a:t>contrôle</a:t>
            </a:r>
            <a:r>
              <a:rPr lang="en-US" sz="700" b="0" u="none" dirty="0">
                <a:solidFill>
                  <a:schemeClr val="accent6"/>
                </a:solidFill>
              </a:rPr>
              <a:t>)</a:t>
            </a:r>
            <a:endParaRPr lang="en-BE" sz="700" b="0" u="none" dirty="0">
              <a:solidFill>
                <a:schemeClr val="accent6"/>
              </a:solidFill>
            </a:endParaRPr>
          </a:p>
          <a:p>
            <a:endParaRPr lang="fr-BE"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5</a:t>
            </a:fld>
            <a:endParaRPr lang="en-US"/>
          </a:p>
        </p:txBody>
      </p:sp>
    </p:spTree>
    <p:extLst>
      <p:ext uri="{BB962C8B-B14F-4D97-AF65-F5344CB8AC3E}">
        <p14:creationId xmlns:p14="http://schemas.microsoft.com/office/powerpoint/2010/main" val="1299844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EE06B-B827-CDA3-8313-83B959A574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DEAD19-5C46-98C4-F1DC-68CF565CB6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25BB1B-84A9-5ABD-62DC-D37DF1DF22E0}"/>
              </a:ext>
            </a:extLst>
          </p:cNvPr>
          <p:cNvSpPr>
            <a:spLocks noGrp="1"/>
          </p:cNvSpPr>
          <p:nvPr>
            <p:ph type="body" idx="1"/>
          </p:nvPr>
        </p:nvSpPr>
        <p:spPr/>
        <p:txBody>
          <a:bodyPr/>
          <a:lstStyle/>
          <a:p>
            <a:pPr>
              <a:lnSpc>
                <a:spcPct val="107000"/>
              </a:lnSpc>
              <a:spcAft>
                <a:spcPts val="800"/>
              </a:spcAft>
            </a:pPr>
            <a:r>
              <a:rPr lang="en-BE" sz="1100" b="1" u="sng" dirty="0">
                <a:latin typeface="Proximus Bold"/>
              </a:rPr>
              <a:t>PATRICK</a:t>
            </a:r>
            <a:r>
              <a:rPr lang="en-US" sz="1100" b="1" u="sng" dirty="0">
                <a:latin typeface="Proximus Bold"/>
              </a:rPr>
              <a:t> ( + à la fin du slide </a:t>
            </a:r>
            <a:r>
              <a:rPr lang="en-US" sz="1100" b="1" u="sng" dirty="0" err="1">
                <a:latin typeface="Proximus Bold"/>
              </a:rPr>
              <a:t>regarder</a:t>
            </a:r>
            <a:r>
              <a:rPr lang="en-US" sz="1100" b="1" u="sng" dirty="0">
                <a:latin typeface="Proximus Bold"/>
              </a:rPr>
              <a:t> </a:t>
            </a:r>
            <a:r>
              <a:rPr lang="en-US" sz="1100" b="1" u="sng" dirty="0" err="1">
                <a:latin typeface="Proximus Bold"/>
              </a:rPr>
              <a:t>en</a:t>
            </a:r>
            <a:r>
              <a:rPr lang="en-US" sz="1100" b="1" u="sng" dirty="0">
                <a:latin typeface="Proximus Bold"/>
              </a:rPr>
              <a:t> </a:t>
            </a:r>
            <a:r>
              <a:rPr lang="en-US" sz="1100" b="1" u="sng" dirty="0" err="1">
                <a:latin typeface="Proximus Bold"/>
              </a:rPr>
              <a:t>Slido</a:t>
            </a:r>
            <a:r>
              <a:rPr lang="en-US" sz="1100" b="1" u="sng" dirty="0">
                <a:latin typeface="Proximus Bold"/>
              </a:rPr>
              <a:t> les </a:t>
            </a:r>
            <a:r>
              <a:rPr lang="en-US" sz="1100" b="1" u="sng" dirty="0" err="1">
                <a:latin typeface="Proximus Bold"/>
              </a:rPr>
              <a:t>réponses</a:t>
            </a:r>
            <a:r>
              <a:rPr lang="en-US" sz="1100" b="1" u="sng" dirty="0">
                <a:latin typeface="Proximus Bold"/>
              </a:rPr>
              <a:t> des gens)</a:t>
            </a:r>
            <a:endParaRPr lang="en-US" sz="1100" u="sng" dirty="0">
              <a:solidFill>
                <a:srgbClr val="000000"/>
              </a:solidFill>
            </a:endParaRPr>
          </a:p>
          <a:p>
            <a:pPr marL="434340" lvl="1" indent="-228600">
              <a:buFont typeface="Arial" panose="020B0604020202020204" pitchFamily="34" charset="0"/>
              <a:buAutoNum type="arabicPeriod"/>
            </a:pPr>
            <a:r>
              <a:rPr lang="en-GB" sz="1100" b="0" dirty="0">
                <a:solidFill>
                  <a:srgbClr val="141C24"/>
                </a:solidFill>
                <a:latin typeface="Proximus Bold"/>
              </a:rPr>
              <a:t>With NBU architects and DTI, we are </a:t>
            </a:r>
            <a:r>
              <a:rPr lang="en-GB" sz="1100" b="1" dirty="0">
                <a:solidFill>
                  <a:srgbClr val="141C24"/>
                </a:solidFill>
                <a:latin typeface="Proximus Bold"/>
              </a:rPr>
              <a:t>finalizing the target architecture.</a:t>
            </a:r>
            <a:br>
              <a:rPr lang="en-GB" sz="1100" b="1" dirty="0">
                <a:solidFill>
                  <a:srgbClr val="141C24"/>
                </a:solidFill>
                <a:latin typeface="Proximus Bold"/>
              </a:rPr>
            </a:br>
            <a:r>
              <a:rPr lang="en-GB" sz="1100" b="0" dirty="0">
                <a:solidFill>
                  <a:srgbClr val="141C24"/>
                </a:solidFill>
                <a:latin typeface="Proximus Bold"/>
              </a:rPr>
              <a:t>We launch an RFQ in May 2025 for the new DWDM backbone. </a:t>
            </a:r>
            <a:r>
              <a:rPr lang="en-GB" sz="1100" b="1" dirty="0">
                <a:solidFill>
                  <a:srgbClr val="141C24"/>
                </a:solidFill>
                <a:latin typeface="Proximus Bold"/>
              </a:rPr>
              <a:t>NEURON </a:t>
            </a:r>
            <a:r>
              <a:rPr lang="en-US" sz="1100" b="0" dirty="0">
                <a:solidFill>
                  <a:srgbClr val="141C24"/>
                </a:solidFill>
                <a:latin typeface="Proximus Bold"/>
              </a:rPr>
              <a:t>Next Enhanced, Universal &amp; Reliable Optical Network​.</a:t>
            </a:r>
            <a:br>
              <a:rPr lang="en-US" sz="1100" b="0" dirty="0">
                <a:solidFill>
                  <a:srgbClr val="141C24"/>
                </a:solidFill>
                <a:latin typeface="Proximus Bold"/>
              </a:rPr>
            </a:br>
            <a:r>
              <a:rPr lang="en-US" sz="1100" b="0" dirty="0">
                <a:solidFill>
                  <a:srgbClr val="141C24"/>
                </a:solidFill>
                <a:latin typeface="Proximus Bold"/>
              </a:rPr>
              <a:t>We select the supplier by End 2025 and start a Field Trial in 1Q2026.</a:t>
            </a:r>
            <a:br>
              <a:rPr lang="en-US" sz="1100" b="0" dirty="0">
                <a:solidFill>
                  <a:srgbClr val="141C24"/>
                </a:solidFill>
                <a:latin typeface="Proximus Bold"/>
              </a:rPr>
            </a:br>
            <a:r>
              <a:rPr lang="en-US" sz="1100" b="0" dirty="0">
                <a:solidFill>
                  <a:srgbClr val="141C24"/>
                </a:solidFill>
                <a:latin typeface="Proximus Bold"/>
              </a:rPr>
              <a:t>Then it starts the 4Y-operational roll-out in hundreds of nodes.</a:t>
            </a:r>
          </a:p>
          <a:p>
            <a:pPr marL="434340" lvl="1" indent="-228600">
              <a:buFont typeface="Arial" panose="020B0604020202020204" pitchFamily="34" charset="0"/>
              <a:buAutoNum type="arabicPeriod"/>
            </a:pPr>
            <a:r>
              <a:rPr lang="en-US" sz="1100" b="0" dirty="0">
                <a:solidFill>
                  <a:srgbClr val="141C24"/>
                </a:solidFill>
                <a:latin typeface="Proximus Bold"/>
              </a:rPr>
              <a:t>​We keep focusing on </a:t>
            </a:r>
            <a:r>
              <a:rPr lang="en-US" sz="1100" b="1" dirty="0">
                <a:solidFill>
                  <a:srgbClr val="141C24"/>
                </a:solidFill>
                <a:latin typeface="Proximus Bold"/>
              </a:rPr>
              <a:t>Zero Saturation</a:t>
            </a:r>
            <a:r>
              <a:rPr lang="en-US" sz="1100" b="0" dirty="0">
                <a:solidFill>
                  <a:srgbClr val="141C24"/>
                </a:solidFill>
                <a:latin typeface="Proximus Bold"/>
              </a:rPr>
              <a:t>, on </a:t>
            </a:r>
            <a:r>
              <a:rPr lang="en-US" sz="1100" b="1" dirty="0">
                <a:solidFill>
                  <a:srgbClr val="141C24"/>
                </a:solidFill>
                <a:latin typeface="Proximus Bold"/>
              </a:rPr>
              <a:t>High Resilience </a:t>
            </a:r>
            <a:r>
              <a:rPr lang="en-US" sz="1100" b="0" dirty="0">
                <a:solidFill>
                  <a:srgbClr val="141C24"/>
                </a:solidFill>
                <a:latin typeface="Proximus Bold"/>
              </a:rPr>
              <a:t>and to perform the </a:t>
            </a:r>
            <a:r>
              <a:rPr lang="en-US" sz="1100" b="1" dirty="0">
                <a:solidFill>
                  <a:srgbClr val="141C24"/>
                </a:solidFill>
                <a:latin typeface="Proximus Bold"/>
              </a:rPr>
              <a:t>DRS plans </a:t>
            </a:r>
            <a:r>
              <a:rPr lang="en-US" sz="1100" b="0" dirty="0">
                <a:solidFill>
                  <a:srgbClr val="141C24"/>
                </a:solidFill>
                <a:latin typeface="Proximus Bold"/>
              </a:rPr>
              <a:t>on all the layers </a:t>
            </a:r>
          </a:p>
          <a:p>
            <a:pPr marL="434340" lvl="1" indent="-228600">
              <a:buFont typeface="Arial" panose="020B0604020202020204" pitchFamily="34" charset="0"/>
              <a:buAutoNum type="arabicPeriod"/>
            </a:pPr>
            <a:r>
              <a:rPr lang="en-US" sz="1100" b="0" dirty="0">
                <a:solidFill>
                  <a:srgbClr val="141C24"/>
                </a:solidFill>
                <a:latin typeface="Proximus Bold"/>
              </a:rPr>
              <a:t>To </a:t>
            </a:r>
            <a:r>
              <a:rPr lang="en-US" sz="1100" b="1" dirty="0">
                <a:solidFill>
                  <a:srgbClr val="141C24"/>
                </a:solidFill>
                <a:latin typeface="Proximus Bold"/>
              </a:rPr>
              <a:t>pave to way </a:t>
            </a:r>
            <a:r>
              <a:rPr lang="en-US" sz="1100" b="0" dirty="0">
                <a:solidFill>
                  <a:srgbClr val="141C24"/>
                </a:solidFill>
                <a:latin typeface="Proximus Bold"/>
              </a:rPr>
              <a:t>to the future,, we will </a:t>
            </a:r>
            <a:r>
              <a:rPr lang="en-US" sz="1100" b="1" dirty="0">
                <a:solidFill>
                  <a:srgbClr val="141C24"/>
                </a:solidFill>
                <a:latin typeface="Proximus Bold"/>
              </a:rPr>
              <a:t>implement in 2025 </a:t>
            </a:r>
            <a:r>
              <a:rPr lang="en-US" sz="1100" b="0" dirty="0">
                <a:solidFill>
                  <a:srgbClr val="141C24"/>
                </a:solidFill>
                <a:latin typeface="Proximus Bold"/>
              </a:rPr>
              <a:t>the first </a:t>
            </a:r>
            <a:r>
              <a:rPr lang="en-US" sz="1100" b="1" dirty="0">
                <a:solidFill>
                  <a:srgbClr val="141C24"/>
                </a:solidFill>
                <a:latin typeface="Proximus Bold"/>
              </a:rPr>
              <a:t>ultra speed fiber services </a:t>
            </a:r>
            <a:r>
              <a:rPr lang="en-US" sz="1100" b="0" dirty="0">
                <a:solidFill>
                  <a:srgbClr val="141C24"/>
                </a:solidFill>
                <a:latin typeface="Proximus Bold"/>
              </a:rPr>
              <a:t>on our OLT,  </a:t>
            </a:r>
            <a:br>
              <a:rPr lang="en-US" sz="1100" b="0" dirty="0">
                <a:solidFill>
                  <a:srgbClr val="141C24"/>
                </a:solidFill>
                <a:latin typeface="Proximus Bold"/>
              </a:rPr>
            </a:br>
            <a:r>
              <a:rPr lang="en-US" sz="1100" b="0" dirty="0">
                <a:solidFill>
                  <a:srgbClr val="141C24"/>
                </a:solidFill>
                <a:latin typeface="Proximus Bold"/>
              </a:rPr>
              <a:t>by using the next OSS generation in live (Altiplano). This is instrumental to start development the </a:t>
            </a:r>
            <a:r>
              <a:rPr lang="en-US" sz="1100" b="1" dirty="0">
                <a:solidFill>
                  <a:srgbClr val="141C24"/>
                </a:solidFill>
                <a:latin typeface="Proximus Bold"/>
              </a:rPr>
              <a:t>brand new IT Stack </a:t>
            </a:r>
            <a:r>
              <a:rPr lang="en-US" sz="1100" b="0" dirty="0">
                <a:solidFill>
                  <a:srgbClr val="141C24"/>
                </a:solidFill>
                <a:latin typeface="Proximus Bold"/>
              </a:rPr>
              <a:t>in 2026.</a:t>
            </a:r>
          </a:p>
          <a:p>
            <a:pPr marL="205740" lvl="1" indent="0">
              <a:buFont typeface="Arial" panose="020B0604020202020204" pitchFamily="34" charset="0"/>
              <a:buNone/>
            </a:pPr>
            <a:r>
              <a:rPr lang="en-US" sz="1100" b="1" dirty="0">
                <a:solidFill>
                  <a:srgbClr val="141C24"/>
                </a:solidFill>
                <a:latin typeface="Proximus Bold"/>
              </a:rPr>
              <a:t>N</a:t>
            </a:r>
            <a:r>
              <a:rPr lang="en-US" sz="1100" b="0" dirty="0">
                <a:solidFill>
                  <a:srgbClr val="141C24"/>
                </a:solidFill>
                <a:latin typeface="Proximus Bold"/>
              </a:rPr>
              <a:t>ext generation optical networks​</a:t>
            </a:r>
            <a:br>
              <a:rPr lang="en-US" sz="1100" b="0" dirty="0">
                <a:solidFill>
                  <a:srgbClr val="141C24"/>
                </a:solidFill>
                <a:latin typeface="Proximus Bold"/>
              </a:rPr>
            </a:br>
            <a:r>
              <a:rPr lang="en-US" sz="1100" b="1" dirty="0">
                <a:solidFill>
                  <a:srgbClr val="141C24"/>
                </a:solidFill>
                <a:latin typeface="Proximus Bold"/>
              </a:rPr>
              <a:t>E</a:t>
            </a:r>
            <a:r>
              <a:rPr lang="en-US" sz="1100" b="0" dirty="0">
                <a:solidFill>
                  <a:srgbClr val="141C24"/>
                </a:solidFill>
                <a:latin typeface="Proximus Bold"/>
              </a:rPr>
              <a:t>nhanced  (better topology, flexibility and ready for new DWDM Bands)​</a:t>
            </a:r>
            <a:br>
              <a:rPr lang="en-US" sz="1100" b="0" dirty="0">
                <a:solidFill>
                  <a:srgbClr val="141C24"/>
                </a:solidFill>
                <a:latin typeface="Proximus Bold"/>
              </a:rPr>
            </a:br>
            <a:r>
              <a:rPr lang="en-US" sz="1100" b="1" dirty="0">
                <a:solidFill>
                  <a:srgbClr val="141C24"/>
                </a:solidFill>
                <a:latin typeface="Proximus Bold"/>
              </a:rPr>
              <a:t>U</a:t>
            </a:r>
            <a:r>
              <a:rPr lang="en-US" sz="1100" b="0" dirty="0">
                <a:solidFill>
                  <a:srgbClr val="141C24"/>
                </a:solidFill>
                <a:latin typeface="Proximus Bold"/>
              </a:rPr>
              <a:t>niversal  (all type and speed of traffic can be carried. Simplification of the layers)​</a:t>
            </a:r>
            <a:br>
              <a:rPr lang="en-US" sz="1100" b="0" dirty="0">
                <a:solidFill>
                  <a:srgbClr val="141C24"/>
                </a:solidFill>
                <a:latin typeface="Proximus Bold"/>
              </a:rPr>
            </a:br>
            <a:r>
              <a:rPr lang="en-US" sz="1100" b="1" dirty="0">
                <a:solidFill>
                  <a:srgbClr val="141C24"/>
                </a:solidFill>
                <a:latin typeface="Proximus Bold"/>
              </a:rPr>
              <a:t>R</a:t>
            </a:r>
            <a:r>
              <a:rPr lang="en-US" sz="1100" b="0" dirty="0">
                <a:solidFill>
                  <a:srgbClr val="141C24"/>
                </a:solidFill>
                <a:latin typeface="Proximus Bold"/>
              </a:rPr>
              <a:t>eliable  (topology improvement, removal of SPOF, increase of traffic protection and restoration)​</a:t>
            </a:r>
            <a:br>
              <a:rPr lang="en-US" sz="1100" b="0" dirty="0">
                <a:solidFill>
                  <a:srgbClr val="141C24"/>
                </a:solidFill>
                <a:latin typeface="Proximus Bold"/>
              </a:rPr>
            </a:br>
            <a:r>
              <a:rPr lang="en-US" sz="1100" b="1" dirty="0">
                <a:solidFill>
                  <a:srgbClr val="141C24"/>
                </a:solidFill>
                <a:latin typeface="Proximus Bold"/>
              </a:rPr>
              <a:t>O</a:t>
            </a:r>
            <a:r>
              <a:rPr lang="en-US" sz="1100" b="0" dirty="0">
                <a:solidFill>
                  <a:srgbClr val="141C24"/>
                </a:solidFill>
                <a:latin typeface="Proximus Bold"/>
              </a:rPr>
              <a:t>ptical transport </a:t>
            </a:r>
            <a:br>
              <a:rPr lang="en-US" sz="1100" b="0" dirty="0">
                <a:solidFill>
                  <a:srgbClr val="141C24"/>
                </a:solidFill>
                <a:latin typeface="Proximus Bold"/>
              </a:rPr>
            </a:br>
            <a:r>
              <a:rPr lang="en-US" sz="1100" b="1" dirty="0">
                <a:solidFill>
                  <a:srgbClr val="141C24"/>
                </a:solidFill>
                <a:latin typeface="Proximus Bold"/>
              </a:rPr>
              <a:t>N</a:t>
            </a:r>
            <a:r>
              <a:rPr lang="en-US" sz="1100" b="0" dirty="0">
                <a:solidFill>
                  <a:srgbClr val="141C24"/>
                </a:solidFill>
                <a:latin typeface="Proximus Bold"/>
              </a:rPr>
              <a:t>etwork​</a:t>
            </a: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205740" lvl="1" indent="0">
              <a:buFont typeface="Arial" panose="020B0604020202020204" pitchFamily="34" charset="0"/>
              <a:buNone/>
            </a:pPr>
            <a:r>
              <a:rPr lang="en-US" sz="1200" b="1" dirty="0">
                <a:solidFill>
                  <a:srgbClr val="141C24"/>
                </a:solidFill>
                <a:latin typeface="Proximus Bold"/>
              </a:rPr>
              <a:t>N</a:t>
            </a:r>
            <a:r>
              <a:rPr lang="en-US" sz="1200" b="0" dirty="0">
                <a:solidFill>
                  <a:srgbClr val="141C24"/>
                </a:solidFill>
                <a:latin typeface="Proximus Bold"/>
              </a:rPr>
              <a:t>ext generation optical networks​</a:t>
            </a:r>
            <a:br>
              <a:rPr lang="en-US" sz="1200" b="0" dirty="0">
                <a:solidFill>
                  <a:srgbClr val="141C24"/>
                </a:solidFill>
                <a:latin typeface="Proximus Bold"/>
              </a:rPr>
            </a:br>
            <a:r>
              <a:rPr lang="en-US" sz="1200" b="1" dirty="0">
                <a:solidFill>
                  <a:srgbClr val="141C24"/>
                </a:solidFill>
                <a:latin typeface="Proximus Bold"/>
              </a:rPr>
              <a:t>E</a:t>
            </a:r>
            <a:r>
              <a:rPr lang="en-US" sz="1200" b="0" dirty="0">
                <a:solidFill>
                  <a:srgbClr val="141C24"/>
                </a:solidFill>
                <a:latin typeface="Proximus Bold"/>
              </a:rPr>
              <a:t>nhanced  (better topology, flexibility and ready for new DWDM Bands)​</a:t>
            </a:r>
            <a:br>
              <a:rPr lang="en-US" sz="1200" b="0" dirty="0">
                <a:solidFill>
                  <a:srgbClr val="141C24"/>
                </a:solidFill>
                <a:latin typeface="Proximus Bold"/>
              </a:rPr>
            </a:br>
            <a:r>
              <a:rPr lang="en-US" sz="1200" b="1" dirty="0">
                <a:solidFill>
                  <a:srgbClr val="141C24"/>
                </a:solidFill>
                <a:latin typeface="Proximus Bold"/>
              </a:rPr>
              <a:t>U</a:t>
            </a:r>
            <a:r>
              <a:rPr lang="en-US" sz="1200" b="0" dirty="0">
                <a:solidFill>
                  <a:srgbClr val="141C24"/>
                </a:solidFill>
                <a:latin typeface="Proximus Bold"/>
              </a:rPr>
              <a:t>niversal  (all type and speed of traffic can be carried. Simplification of the layers)​</a:t>
            </a:r>
            <a:br>
              <a:rPr lang="en-US" sz="1200" b="0" dirty="0">
                <a:solidFill>
                  <a:srgbClr val="141C24"/>
                </a:solidFill>
                <a:latin typeface="Proximus Bold"/>
              </a:rPr>
            </a:br>
            <a:r>
              <a:rPr lang="en-US" sz="1200" b="1" dirty="0">
                <a:solidFill>
                  <a:srgbClr val="141C24"/>
                </a:solidFill>
                <a:latin typeface="Proximus Bold"/>
              </a:rPr>
              <a:t>R</a:t>
            </a:r>
            <a:r>
              <a:rPr lang="en-US" sz="1200" b="0" dirty="0">
                <a:solidFill>
                  <a:srgbClr val="141C24"/>
                </a:solidFill>
                <a:latin typeface="Proximus Bold"/>
              </a:rPr>
              <a:t>eliable  (topology improvement, removal of SPOF, increase of traffic protection and restoration)​</a:t>
            </a:r>
            <a:br>
              <a:rPr lang="en-US" sz="1200" b="0" dirty="0">
                <a:solidFill>
                  <a:srgbClr val="141C24"/>
                </a:solidFill>
                <a:latin typeface="Proximus Bold"/>
              </a:rPr>
            </a:br>
            <a:r>
              <a:rPr lang="en-US" sz="1200" b="1" dirty="0">
                <a:solidFill>
                  <a:srgbClr val="141C24"/>
                </a:solidFill>
                <a:latin typeface="Proximus Bold"/>
              </a:rPr>
              <a:t>O</a:t>
            </a:r>
            <a:r>
              <a:rPr lang="en-US" sz="1200" b="0" dirty="0">
                <a:solidFill>
                  <a:srgbClr val="141C24"/>
                </a:solidFill>
                <a:latin typeface="Proximus Bold"/>
              </a:rPr>
              <a:t>ptical transport </a:t>
            </a:r>
            <a:br>
              <a:rPr lang="en-US" sz="1200" b="0" dirty="0">
                <a:solidFill>
                  <a:srgbClr val="141C24"/>
                </a:solidFill>
                <a:latin typeface="Proximus Bold"/>
              </a:rPr>
            </a:br>
            <a:r>
              <a:rPr lang="en-US" sz="1200" b="1" dirty="0">
                <a:solidFill>
                  <a:srgbClr val="141C24"/>
                </a:solidFill>
                <a:latin typeface="Proximus Bold"/>
              </a:rPr>
              <a:t>N</a:t>
            </a:r>
            <a:r>
              <a:rPr lang="en-US" sz="1200" b="0" dirty="0">
                <a:solidFill>
                  <a:srgbClr val="141C24"/>
                </a:solidFill>
                <a:latin typeface="Proximus Bold"/>
              </a:rPr>
              <a:t>etwork​</a:t>
            </a:r>
          </a:p>
        </p:txBody>
      </p:sp>
      <p:sp>
        <p:nvSpPr>
          <p:cNvPr id="4" name="Slide Number Placeholder 3">
            <a:extLst>
              <a:ext uri="{FF2B5EF4-FFF2-40B4-BE49-F238E27FC236}">
                <a16:creationId xmlns:a16="http://schemas.microsoft.com/office/drawing/2014/main" id="{7089C662-9B1D-DE89-A332-9FB3C02564FB}"/>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7141374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BB1CC-ED4A-B02B-BA7F-C8A00F26E7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B2B3E-27E2-AD76-A03F-6016166A39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12EADD-4BFD-C96E-2E4A-5987739314F2}"/>
              </a:ext>
            </a:extLst>
          </p:cNvPr>
          <p:cNvSpPr>
            <a:spLocks noGrp="1"/>
          </p:cNvSpPr>
          <p:nvPr>
            <p:ph type="body" idx="1"/>
          </p:nvPr>
        </p:nvSpPr>
        <p:spPr/>
        <p:txBody>
          <a:bodyPr/>
          <a:lstStyle/>
          <a:p>
            <a:pPr algn="just"/>
            <a:r>
              <a:rPr lang="en-US" sz="1100" b="1" u="sng" dirty="0">
                <a:latin typeface="+mn-lt"/>
              </a:rPr>
              <a:t>LAURENT</a:t>
            </a:r>
          </a:p>
          <a:p>
            <a:pPr algn="just"/>
            <a:r>
              <a:rPr lang="en-US" sz="1100" b="0" dirty="0">
                <a:latin typeface="+mn-lt"/>
              </a:rPr>
              <a:t>We go </a:t>
            </a:r>
            <a:r>
              <a:rPr lang="en-US" sz="1100" b="0" dirty="0">
                <a:latin typeface="Proximus ExtraBold" panose="00000900000000000000" pitchFamily="2" charset="0"/>
              </a:rPr>
              <a:t>Cloud everywhere </a:t>
            </a:r>
            <a:r>
              <a:rPr lang="en-US" sz="1100" b="0" dirty="0">
                <a:latin typeface="Proximus (Body)"/>
              </a:rPr>
              <a:t>and will future proof </a:t>
            </a:r>
            <a:r>
              <a:rPr lang="en-US" sz="1100" dirty="0">
                <a:latin typeface="Proximus ExtraBold" pitchFamily="2" charset="77"/>
              </a:rPr>
              <a:t>resiliency</a:t>
            </a:r>
            <a:r>
              <a:rPr lang="en-US" sz="1100" b="0" dirty="0">
                <a:latin typeface="Proximus Light" pitchFamily="2" charset="77"/>
              </a:rPr>
              <a:t> </a:t>
            </a:r>
            <a:r>
              <a:rPr lang="en-US" sz="1100" b="0" dirty="0">
                <a:latin typeface="Proximus (Body)"/>
              </a:rPr>
              <a:t>of platforms by </a:t>
            </a:r>
            <a:r>
              <a:rPr lang="en-US" sz="1100" dirty="0">
                <a:latin typeface="Proximus ExtraBold" panose="00000900000000000000" pitchFamily="2" charset="0"/>
              </a:rPr>
              <a:t>containerizing</a:t>
            </a:r>
            <a:r>
              <a:rPr lang="en-US" sz="1100" dirty="0">
                <a:latin typeface="+mj-lt"/>
              </a:rPr>
              <a:t> </a:t>
            </a:r>
            <a:r>
              <a:rPr lang="en-US" sz="1100" b="0" dirty="0">
                <a:latin typeface="+mn-lt"/>
              </a:rPr>
              <a:t>and implementing </a:t>
            </a:r>
            <a:r>
              <a:rPr lang="en-US" sz="1100" b="0" dirty="0">
                <a:latin typeface="Proximus ExtraBold" panose="00000900000000000000" pitchFamily="2" charset="0"/>
              </a:rPr>
              <a:t>High Risk Vendor </a:t>
            </a:r>
            <a:r>
              <a:rPr lang="en-US" sz="1100" b="0" dirty="0">
                <a:latin typeface="Proximus (Body)"/>
              </a:rPr>
              <a:t>compliancy while driving </a:t>
            </a:r>
            <a:r>
              <a:rPr lang="en-US" sz="1100" b="0" dirty="0">
                <a:latin typeface="Proximus ExtraBold" panose="00000900000000000000" pitchFamily="2" charset="0"/>
              </a:rPr>
              <a:t>network exposure and</a:t>
            </a:r>
            <a:r>
              <a:rPr lang="en-US" sz="1100" dirty="0">
                <a:latin typeface="Proximus ExtraBold" panose="00000900000000000000" pitchFamily="2" charset="0"/>
              </a:rPr>
              <a:t> API’s</a:t>
            </a: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Future-proof our infrastructure by </a:t>
            </a:r>
            <a:r>
              <a:rPr lang="en-GB" sz="1100" b="1" dirty="0">
                <a:solidFill>
                  <a:srgbClr val="242424"/>
                </a:solidFill>
                <a:effectLst/>
                <a:latin typeface="Segoe UI" panose="020B0502040204020203" pitchFamily="34" charset="0"/>
                <a:ea typeface="Times New Roman" panose="02020603050405020304" pitchFamily="18" charset="0"/>
              </a:rPr>
              <a:t>containerizing platforms</a:t>
            </a:r>
            <a:r>
              <a:rPr lang="en-GB" sz="1100" dirty="0">
                <a:solidFill>
                  <a:srgbClr val="242424"/>
                </a:solidFill>
                <a:effectLst/>
                <a:latin typeface="Segoe UI" panose="020B0502040204020203" pitchFamily="34" charset="0"/>
                <a:ea typeface="Times New Roman" panose="02020603050405020304" pitchFamily="18" charset="0"/>
              </a:rPr>
              <a:t> to enhance scalability and flexibility.</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Ensure seamless operations and </a:t>
            </a:r>
            <a:r>
              <a:rPr lang="en-GB" sz="1100" b="1" dirty="0">
                <a:solidFill>
                  <a:srgbClr val="242424"/>
                </a:solidFill>
                <a:effectLst/>
                <a:latin typeface="Segoe UI" panose="020B0502040204020203" pitchFamily="34" charset="0"/>
                <a:ea typeface="Times New Roman" panose="02020603050405020304" pitchFamily="18" charset="0"/>
              </a:rPr>
              <a:t>robust resilience</a:t>
            </a:r>
            <a:r>
              <a:rPr lang="en-GB" sz="1100" dirty="0">
                <a:solidFill>
                  <a:srgbClr val="242424"/>
                </a:solidFill>
                <a:effectLst/>
                <a:latin typeface="Segoe UI" panose="020B0502040204020203" pitchFamily="34" charset="0"/>
                <a:ea typeface="Times New Roman" panose="02020603050405020304" pitchFamily="18" charset="0"/>
              </a:rPr>
              <a:t> to maintain high service reliability.</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Mitigate risks by strategically </a:t>
            </a:r>
            <a:r>
              <a:rPr lang="en-GB" sz="1100" b="1" dirty="0">
                <a:solidFill>
                  <a:srgbClr val="242424"/>
                </a:solidFill>
                <a:effectLst/>
                <a:latin typeface="Segoe UI" panose="020B0502040204020203" pitchFamily="34" charset="0"/>
                <a:ea typeface="Times New Roman" panose="02020603050405020304" pitchFamily="18" charset="0"/>
              </a:rPr>
              <a:t>replacing high-risk vendors</a:t>
            </a:r>
            <a:r>
              <a:rPr lang="en-GB" sz="1100" dirty="0">
                <a:solidFill>
                  <a:srgbClr val="242424"/>
                </a:solidFill>
                <a:effectLst/>
                <a:latin typeface="Segoe UI" panose="020B0502040204020203" pitchFamily="34" charset="0"/>
                <a:ea typeface="Times New Roman" panose="02020603050405020304" pitchFamily="18" charset="0"/>
              </a:rPr>
              <a:t> with reliable alternatives.</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Drive innovation and growth by </a:t>
            </a:r>
            <a:r>
              <a:rPr lang="en-GB" sz="1100" b="1" dirty="0">
                <a:solidFill>
                  <a:srgbClr val="242424"/>
                </a:solidFill>
                <a:effectLst/>
                <a:latin typeface="Segoe UI" panose="020B0502040204020203" pitchFamily="34" charset="0"/>
                <a:ea typeface="Times New Roman" panose="02020603050405020304" pitchFamily="18" charset="0"/>
              </a:rPr>
              <a:t>launching cutting-edge products and services</a:t>
            </a:r>
            <a:r>
              <a:rPr lang="en-GB" sz="1100" dirty="0">
                <a:solidFill>
                  <a:srgbClr val="242424"/>
                </a:solidFill>
                <a:effectLst/>
                <a:latin typeface="Segoe UI" panose="020B0502040204020203" pitchFamily="34" charset="0"/>
                <a:ea typeface="Times New Roman" panose="02020603050405020304" pitchFamily="18" charset="0"/>
              </a:rPr>
              <a:t>.</a:t>
            </a:r>
            <a:endParaRPr lang="en-GB" sz="1100" dirty="0">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GB" sz="500" dirty="0">
              <a:latin typeface="Proximus Bold"/>
            </a:endParaRP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5BE38D75-EBD6-D000-B241-EB56182A2A1C}"/>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40737981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dirty="0"/>
              <a:t>LAURENT</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0" u="none" dirty="0">
                <a:solidFill>
                  <a:schemeClr val="accent6"/>
                </a:solidFill>
              </a:rPr>
              <a:t>(we will look at your answers at the end of next slide)</a:t>
            </a:r>
            <a:endParaRPr lang="en-BE" sz="1100" b="0" u="none" dirty="0">
              <a:solidFill>
                <a:schemeClr val="accent6"/>
              </a:solidFill>
            </a:endParaRPr>
          </a:p>
          <a:p>
            <a:endParaRPr lang="fr-BE" sz="1100"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8</a:t>
            </a:fld>
            <a:endParaRPr lang="en-US"/>
          </a:p>
        </p:txBody>
      </p:sp>
    </p:spTree>
    <p:extLst>
      <p:ext uri="{BB962C8B-B14F-4D97-AF65-F5344CB8AC3E}">
        <p14:creationId xmlns:p14="http://schemas.microsoft.com/office/powerpoint/2010/main" val="28248783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6341C-EC65-7C20-1790-CADE3C87D4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16655-C05F-379D-25A9-5827C7B9DB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977C49-71E1-A213-4153-6338C784C4C4}"/>
              </a:ext>
            </a:extLst>
          </p:cNvPr>
          <p:cNvSpPr>
            <a:spLocks noGrp="1"/>
          </p:cNvSpPr>
          <p:nvPr>
            <p:ph type="body" idx="1"/>
          </p:nvPr>
        </p:nvSpPr>
        <p:spPr/>
        <p:txBody>
          <a:bodyPr/>
          <a:lstStyle/>
          <a:p>
            <a:pPr>
              <a:lnSpc>
                <a:spcPct val="107000"/>
              </a:lnSpc>
              <a:spcAft>
                <a:spcPts val="800"/>
              </a:spcAft>
            </a:pPr>
            <a:r>
              <a:rPr lang="en-GB" sz="1100" b="1" u="sng" dirty="0">
                <a:latin typeface="Proximus Bold"/>
              </a:rPr>
              <a:t>LAURENT</a:t>
            </a:r>
          </a:p>
          <a:p>
            <a:pPr>
              <a:lnSpc>
                <a:spcPct val="107000"/>
              </a:lnSpc>
              <a:spcAft>
                <a:spcPts val="800"/>
              </a:spcAft>
            </a:pPr>
            <a:r>
              <a:rPr lang="en-GB" sz="1100" dirty="0">
                <a:latin typeface="Proximus Bold"/>
              </a:rPr>
              <a:t>Mention Operational stability</a:t>
            </a:r>
          </a:p>
          <a:p>
            <a:pPr>
              <a:lnSpc>
                <a:spcPct val="107000"/>
              </a:lnSpc>
              <a:spcAft>
                <a:spcPts val="800"/>
              </a:spcAft>
            </a:pPr>
            <a:endParaRPr lang="en-GB" sz="500" dirty="0">
              <a:latin typeface="Proximus Bold"/>
            </a:endParaRPr>
          </a:p>
          <a:p>
            <a:pPr>
              <a:lnSpc>
                <a:spcPct val="107000"/>
              </a:lnSpc>
              <a:spcAft>
                <a:spcPts val="800"/>
              </a:spcAft>
            </a:pPr>
            <a:r>
              <a:rPr lang="en-GB" sz="500" dirty="0">
                <a:latin typeface="Proximus Bold"/>
              </a:rPr>
              <a:t>(+ look on </a:t>
            </a:r>
            <a:r>
              <a:rPr lang="en-GB" sz="500" dirty="0" err="1">
                <a:latin typeface="Proximus Bold"/>
              </a:rPr>
              <a:t>Slido</a:t>
            </a:r>
            <a:r>
              <a:rPr lang="en-GB" sz="500" dirty="0">
                <a:latin typeface="Proximus Bold"/>
              </a:rPr>
              <a:t> answers of people)</a:t>
            </a: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CFC80612-92F0-2243-F43E-FB383C27F911}"/>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005298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Aptos" panose="020B0004020202020204" pitchFamily="34" charset="0"/>
              <a:buNone/>
            </a:pPr>
            <a:r>
              <a:rPr lang="en-US" sz="1100" b="1" u="sng" kern="100">
                <a:solidFill>
                  <a:schemeClr val="accent6"/>
                </a:solidFill>
                <a:latin typeface="Proximus Bold" panose="00000500000000000000" pitchFamily="2" charset="0"/>
                <a:ea typeface="Aptos" panose="020B0004020202020204" pitchFamily="34" charset="0"/>
                <a:cs typeface="Arial" panose="020B0604020202020204" pitchFamily="34" charset="0"/>
              </a:rPr>
              <a:t>ROBIN</a:t>
            </a: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lvl="0" indent="0">
              <a:lnSpc>
                <a:spcPct val="107000"/>
              </a:lnSpc>
              <a:buFont typeface="Aptos" panose="020B0004020202020204" pitchFamily="34" charset="0"/>
              <a:buNone/>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n stage (NL)</a:t>
            </a:r>
          </a:p>
          <a:p>
            <a:pPr marL="285750" indent="-285750">
              <a:lnSpc>
                <a:spcPct val="107000"/>
              </a:lnSpc>
              <a:buFontTx/>
              <a:buChar char="-"/>
            </a:pP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Welkom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eder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rs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l</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es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ens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2025!</a:t>
            </a:r>
          </a:p>
          <a:p>
            <a:pPr marL="28575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n hee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geve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300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ns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anwezi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Ever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onder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ollega’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p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lido</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elf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ickx</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fr-BE"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285750" lvl="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goed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nemen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as om minder over Fib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pre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u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hee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unn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ankondig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ver heel w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nder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o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r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fr-BE"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28575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ord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leutelmomen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ull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l</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oel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grip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rm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de NBU Strategy.</a:t>
            </a:r>
          </a:p>
          <a:p>
            <a:pPr marL="285750" indent="-285750">
              <a:lnSpc>
                <a:spcPct val="107000"/>
              </a:lnSpc>
              <a:buFontTx/>
              <a:buChar char="-"/>
            </a:pP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lles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ypisch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gang va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ad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reeds de PXS Strategy Casca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Q&amp;A in Decemb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op</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end</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ascaderin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visie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ebb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focus op hoe exact, p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vis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mibitie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unn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realiser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p>
          <a:p>
            <a:pPr marL="285750" indent="-285750">
              <a:lnSpc>
                <a:spcPct val="107000"/>
              </a:lnSpc>
              <a:buChar char="-"/>
            </a:pP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wordt</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eke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ge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one-man show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ga de hele MC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uitnodig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op het podium, om hen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laten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uitlegg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welk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allemaal</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in petto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hebb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langer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termij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maar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oo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ee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specifie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2025.</a:t>
            </a:r>
          </a:p>
          <a:p>
            <a:pPr marL="285750" indent="-285750">
              <a:lnSpc>
                <a:spcPct val="107000"/>
              </a:lnSpc>
              <a:buChar char="-"/>
            </a:pPr>
            <a:endParaRPr lang="fr-BE" sz="1100">
              <a:solidFill>
                <a:schemeClr val="accent6"/>
              </a:solidFill>
              <a:latin typeface="Proximus" panose="00000500000000000000" pitchFamily="2" charset="0"/>
              <a:cs typeface="Arial" panose="020B0604020202020204" pitchFamily="34" charset="0"/>
            </a:endParaRPr>
          </a:p>
          <a:p>
            <a:r>
              <a:rPr lang="en-US" sz="1100" b="1" u="sng">
                <a:solidFill>
                  <a:schemeClr val="accent6"/>
                </a:solidFill>
                <a:latin typeface="Proximus Bold" panose="00000500000000000000" pitchFamily="2" charset="0"/>
              </a:rPr>
              <a:t>ROBIN</a:t>
            </a:r>
            <a:r>
              <a:rPr lang="en-US" sz="1100">
                <a:solidFill>
                  <a:schemeClr val="accent6"/>
                </a:solidFill>
                <a:latin typeface="Proximus" panose="00000500000000000000" pitchFamily="2" charset="0"/>
              </a:rPr>
              <a:t> : </a:t>
            </a:r>
            <a:r>
              <a:rPr lang="nl-NL" sz="1100" b="0" i="0">
                <a:solidFill>
                  <a:schemeClr val="accent6"/>
                </a:solidFill>
                <a:effectLst/>
                <a:latin typeface="Proximus" panose="00000500000000000000" pitchFamily="2" charset="0"/>
                <a:cs typeface="Segoe UI"/>
              </a:rPr>
              <a:t>Geert, ik denk dat we net de resultaten van </a:t>
            </a:r>
            <a:r>
              <a:rPr lang="nl-NL" sz="1100" b="0" i="0" err="1">
                <a:solidFill>
                  <a:schemeClr val="accent6"/>
                </a:solidFill>
                <a:effectLst/>
                <a:latin typeface="Proximus" panose="00000500000000000000" pitchFamily="2" charset="0"/>
                <a:cs typeface="Segoe UI"/>
              </a:rPr>
              <a:t>Speak</a:t>
            </a:r>
            <a:r>
              <a:rPr lang="nl-NL" sz="1100" b="0" i="0">
                <a:solidFill>
                  <a:schemeClr val="accent6"/>
                </a:solidFill>
                <a:effectLst/>
                <a:latin typeface="Proximus" panose="00000500000000000000" pitchFamily="2" charset="0"/>
                <a:cs typeface="Segoe UI"/>
              </a:rPr>
              <a:t> Up hebben ontvangen. Kun je ze ons al meedelen en ons meenemen in hoe jij deze interpreteert en hoe we hiermee verder aan de slag zullen gaan?</a:t>
            </a:r>
            <a:endParaRPr lang="en-BE" sz="1100" b="0">
              <a:solidFill>
                <a:schemeClr val="accent6"/>
              </a:solidFill>
              <a:latin typeface="Proximus" panose="00000500000000000000" pitchFamily="2" charset="0"/>
              <a:cs typeface="Segoe UI"/>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5</a:t>
            </a:fld>
            <a:endParaRPr lang="en-US"/>
          </a:p>
        </p:txBody>
      </p:sp>
    </p:spTree>
    <p:extLst>
      <p:ext uri="{BB962C8B-B14F-4D97-AF65-F5344CB8AC3E}">
        <p14:creationId xmlns:p14="http://schemas.microsoft.com/office/powerpoint/2010/main" val="1338999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E6ED5-1F67-B3C7-5AE6-0B28DC7549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8E8D88-F68A-328C-4C01-CE8CF4155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76D2F-6122-C070-6905-77FF99FA9BFB}"/>
              </a:ext>
            </a:extLst>
          </p:cNvPr>
          <p:cNvSpPr>
            <a:spLocks noGrp="1"/>
          </p:cNvSpPr>
          <p:nvPr>
            <p:ph type="body" idx="1"/>
          </p:nvPr>
        </p:nvSpPr>
        <p:spPr/>
        <p:txBody>
          <a:bodyPr/>
          <a:lstStyle/>
          <a:p>
            <a:pPr lvl="0">
              <a:lnSpc>
                <a:spcPct val="107000"/>
              </a:lnSpc>
              <a:spcAft>
                <a:spcPts val="800"/>
              </a:spcAft>
            </a:pPr>
            <a:r>
              <a:rPr lang="en-US" sz="1100" b="1" u="sng" kern="100" dirty="0">
                <a:latin typeface="Proximus Light"/>
                <a:ea typeface="Aptos" panose="020B0004020202020204" pitchFamily="34" charset="0"/>
                <a:cs typeface="Arial" panose="020B0604020202020204" pitchFamily="34" charset="0"/>
              </a:rPr>
              <a:t>ALEX</a:t>
            </a:r>
            <a:endParaRPr lang="en-US" sz="1100" b="1" u="sng" kern="100" dirty="0">
              <a:effectLst/>
              <a:latin typeface="Proximus Light" pitchFamily="2" charset="77"/>
              <a:ea typeface="Aptos" panose="020B0004020202020204" pitchFamily="34" charset="0"/>
              <a:cs typeface="Arial" panose="020B0604020202020204" pitchFamily="34" charset="0"/>
            </a:endParaRPr>
          </a:p>
          <a:p>
            <a:pPr>
              <a:lnSpc>
                <a:spcPct val="107000"/>
              </a:lnSpc>
              <a:spcAft>
                <a:spcPts val="800"/>
              </a:spcAft>
            </a:pPr>
            <a:r>
              <a:rPr lang="en-US" sz="1100" kern="100" dirty="0">
                <a:effectLst/>
                <a:latin typeface="Proximus Light" pitchFamily="2" charset="77"/>
                <a:ea typeface="Aptos" panose="020B0004020202020204" pitchFamily="34" charset="0"/>
                <a:cs typeface="Arial" panose="020B0604020202020204" pitchFamily="34" charset="0"/>
              </a:rPr>
              <a:t>NBU is transforming into the leading </a:t>
            </a:r>
            <a:r>
              <a:rPr lang="en-US" sz="1100" kern="100" dirty="0" err="1">
                <a:effectLst/>
                <a:latin typeface="Proximus Light" pitchFamily="2" charset="77"/>
                <a:ea typeface="Aptos" panose="020B0004020202020204" pitchFamily="34" charset="0"/>
                <a:cs typeface="Arial" panose="020B0604020202020204" pitchFamily="34" charset="0"/>
              </a:rPr>
              <a:t>NaaS</a:t>
            </a:r>
            <a:r>
              <a:rPr lang="en-US" sz="1100" kern="100" dirty="0">
                <a:effectLst/>
                <a:latin typeface="Proximus Light" pitchFamily="2" charset="77"/>
                <a:ea typeface="Aptos" panose="020B0004020202020204" pitchFamily="34" charset="0"/>
                <a:cs typeface="Arial" panose="020B0604020202020204" pitchFamily="34" charset="0"/>
              </a:rPr>
              <a:t> provider in Belgium. This transformation is bringing new business opportunities but also an enhanced customer experience. Here is a sneak peek into some of the major services included in the notion of </a:t>
            </a:r>
            <a:r>
              <a:rPr lang="en-US" sz="1100" kern="100" dirty="0" err="1">
                <a:effectLst/>
                <a:latin typeface="Proximus Light" pitchFamily="2" charset="77"/>
                <a:ea typeface="Aptos" panose="020B0004020202020204" pitchFamily="34" charset="0"/>
                <a:cs typeface="Arial" panose="020B0604020202020204" pitchFamily="34" charset="0"/>
              </a:rPr>
              <a:t>NaaS</a:t>
            </a:r>
            <a:r>
              <a:rPr lang="en-US" sz="1100" kern="100" dirty="0">
                <a:effectLst/>
                <a:latin typeface="Proximus Light" pitchFamily="2" charset="77"/>
                <a:ea typeface="Aptos" panose="020B0004020202020204" pitchFamily="34" charset="0"/>
                <a:cs typeface="Arial" panose="020B0604020202020204" pitchFamily="34" charset="0"/>
              </a:rPr>
              <a:t>:</a:t>
            </a:r>
            <a:endParaRPr lang="en-BE" sz="1100" kern="100" dirty="0">
              <a:effectLst/>
              <a:latin typeface="Proximus Light" pitchFamily="2" charset="77"/>
              <a:ea typeface="Aptos" panose="020B0004020202020204" pitchFamily="34" charset="0"/>
              <a:cs typeface="Arial" panose="020B0604020202020204" pitchFamily="34" charset="0"/>
            </a:endParaRPr>
          </a:p>
          <a:p>
            <a:pPr marL="742950" lvl="1" indent="-285750">
              <a:lnSpc>
                <a:spcPct val="107000"/>
              </a:lnSpc>
              <a:spcAft>
                <a:spcPts val="800"/>
              </a:spcAft>
              <a:buFont typeface="+mj-lt"/>
              <a:buAutoNum type="alphaLcPeriod"/>
            </a:pPr>
            <a:r>
              <a:rPr lang="en-US" sz="1100" u="sng" kern="100" dirty="0">
                <a:effectLst/>
                <a:latin typeface="Proximus Light" pitchFamily="2" charset="77"/>
                <a:ea typeface="Aptos" panose="020B0004020202020204" pitchFamily="34" charset="0"/>
                <a:cs typeface="Arial" panose="020B0604020202020204" pitchFamily="34" charset="0"/>
              </a:rPr>
              <a:t>Business opportunities</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Physical network device mgt as a Service</a:t>
            </a:r>
            <a:r>
              <a:rPr lang="en-US" sz="1100" kern="100" dirty="0">
                <a:effectLst/>
                <a:latin typeface="Proximus Light" pitchFamily="2" charset="77"/>
                <a:ea typeface="Aptos" panose="020B0004020202020204" pitchFamily="34" charset="0"/>
                <a:cs typeface="Arial" panose="020B0604020202020204" pitchFamily="34" charset="0"/>
              </a:rPr>
              <a:t>: Instead of buying network equipment, installing it, and operating it, a network-as-a-service provider owns, installs and operates the equipment, and organizations pay a subscription to use it.</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Network virtualization</a:t>
            </a:r>
            <a:r>
              <a:rPr lang="en-US" sz="1100" kern="100" dirty="0">
                <a:effectLst/>
                <a:latin typeface="Proximus Light" pitchFamily="2" charset="77"/>
                <a:ea typeface="Aptos" panose="020B0004020202020204" pitchFamily="34" charset="0"/>
                <a:cs typeface="Arial" panose="020B0604020202020204" pitchFamily="34" charset="0"/>
              </a:rPr>
              <a:t>: Decoupling of the network services from the underlying hardware, allowing them to be managed independently and remotely. This is also often referred to as “</a:t>
            </a:r>
            <a:r>
              <a:rPr lang="en-US" sz="1100" kern="100" dirty="0" err="1">
                <a:effectLst/>
                <a:latin typeface="Proximus Light" pitchFamily="2" charset="77"/>
                <a:ea typeface="Aptos" panose="020B0004020202020204" pitchFamily="34" charset="0"/>
                <a:cs typeface="Arial" panose="020B0604020202020204" pitchFamily="34" charset="0"/>
              </a:rPr>
              <a:t>Softwarization</a:t>
            </a:r>
            <a:r>
              <a:rPr lang="en-US" sz="1100" kern="100" dirty="0">
                <a:effectLst/>
                <a:latin typeface="Proximus Light" pitchFamily="2" charset="77"/>
                <a:ea typeface="Aptos" panose="020B0004020202020204" pitchFamily="34" charset="0"/>
                <a:cs typeface="Arial" panose="020B0604020202020204" pitchFamily="34" charset="0"/>
              </a:rPr>
              <a:t>”.</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Network on demand / network performance</a:t>
            </a:r>
            <a:r>
              <a:rPr lang="en-US" sz="1100" kern="100" dirty="0">
                <a:effectLst/>
                <a:latin typeface="Proximus Light" pitchFamily="2" charset="77"/>
                <a:ea typeface="Aptos" panose="020B0004020202020204" pitchFamily="34" charset="0"/>
                <a:cs typeface="Arial" panose="020B0604020202020204" pitchFamily="34" charset="0"/>
              </a:rPr>
              <a:t>: just like with cloud resources, organizations can dynamically adjust their network resources based on their needs in near real time, allowing them to guarantee network performance. </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Retrieve info from the network</a:t>
            </a:r>
            <a:r>
              <a:rPr lang="en-US" sz="1100" kern="100" dirty="0">
                <a:effectLst/>
                <a:latin typeface="Proximus Light" pitchFamily="2" charset="77"/>
                <a:ea typeface="Aptos" panose="020B0004020202020204" pitchFamily="34" charset="0"/>
                <a:cs typeface="Arial" panose="020B0604020202020204" pitchFamily="34" charset="0"/>
              </a:rPr>
              <a:t>: </a:t>
            </a:r>
            <a:r>
              <a:rPr lang="en-US" sz="1100" kern="100" dirty="0">
                <a:effectLst/>
                <a:latin typeface="Proximus Light" pitchFamily="2" charset="77"/>
                <a:ea typeface="Aptos" panose="020B0004020202020204" pitchFamily="34" charset="0"/>
                <a:cs typeface="Aptos" panose="020B0004020202020204" pitchFamily="34" charset="0"/>
              </a:rPr>
              <a:t>by exposing some of our network APIs, organizations can retrieve information from our network. A major use case is fraud prevention, using APIs such as:</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SIM Swap: determines if the SIM has been recently swapped</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Scam signal: determines if a phone is currently in a call</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Number verification: determines the number (MSISDN) actually attached to a SIM</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spcAft>
                <a:spcPts val="800"/>
              </a:spcAft>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Device location: determines the location of a phone (or region, or geo-fence)</a:t>
            </a:r>
          </a:p>
          <a:p>
            <a:pPr marL="742950" lvl="1" indent="-285750">
              <a:lnSpc>
                <a:spcPct val="107000"/>
              </a:lnSpc>
              <a:spcAft>
                <a:spcPts val="800"/>
              </a:spcAft>
              <a:buFont typeface="+mj-lt"/>
              <a:buAutoNum type="alphaLcPeriod"/>
            </a:pPr>
            <a:r>
              <a:rPr lang="en-US" sz="1100" u="sng" kern="100" dirty="0">
                <a:effectLst/>
                <a:latin typeface="Proximus Light" pitchFamily="2" charset="77"/>
                <a:ea typeface="Aptos" panose="020B0004020202020204" pitchFamily="34" charset="0"/>
                <a:cs typeface="Arial" panose="020B0604020202020204" pitchFamily="34" charset="0"/>
              </a:rPr>
              <a:t>Enhanced customer experience</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Digital self-servicing via APIs</a:t>
            </a:r>
            <a:r>
              <a:rPr lang="en-US" sz="1100" kern="100" dirty="0">
                <a:effectLst/>
                <a:latin typeface="Proximus Light" pitchFamily="2" charset="77"/>
                <a:ea typeface="Aptos" panose="020B0004020202020204" pitchFamily="34" charset="0"/>
                <a:cs typeface="Arial" panose="020B0604020202020204" pitchFamily="34" charset="0"/>
              </a:rPr>
              <a:t>: self-service capabilities like real-time quoting, ordering, and where possible provisioning, of the network. As organizations advance in their digital-transformation journey, they are increasingly looking for API support to ensure they can consume network services in a programmatic manner through their own internal applications.</a:t>
            </a:r>
            <a:endParaRPr lang="en-BE" sz="1100" kern="100" dirty="0">
              <a:effectLst/>
              <a:latin typeface="Proximus Light" pitchFamily="2" charset="77"/>
              <a:ea typeface="Aptos" panose="020B0004020202020204" pitchFamily="34" charset="0"/>
              <a:cs typeface="Arial" panose="020B0604020202020204" pitchFamily="34" charset="0"/>
            </a:endParaRPr>
          </a:p>
          <a:p>
            <a:pPr marL="1234440" lvl="0" indent="-228600">
              <a:lnSpc>
                <a:spcPct val="107000"/>
              </a:lnSpc>
              <a:spcAft>
                <a:spcPts val="800"/>
              </a:spcAft>
              <a:buFont typeface="+mj-lt"/>
              <a:buAutoNum type="alphaLcPeriod"/>
            </a:pPr>
            <a:endParaRPr lang="en-BE" sz="1100" kern="100" dirty="0">
              <a:effectLst/>
              <a:latin typeface="Proximus Light" pitchFamily="2" charset="77"/>
              <a:ea typeface="Aptos" panose="020B0004020202020204" pitchFamily="34" charset="0"/>
              <a:cs typeface="Arial" panose="020B0604020202020204" pitchFamily="34" charset="0"/>
            </a:endParaRP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E7072366-79BB-0330-89E1-4ADEFE96B8F0}"/>
              </a:ext>
            </a:extLst>
          </p:cNvPr>
          <p:cNvSpPr>
            <a:spLocks noGrp="1"/>
          </p:cNvSpPr>
          <p:nvPr>
            <p:ph type="sldNum" sz="quarter" idx="5"/>
          </p:nvPr>
        </p:nvSpPr>
        <p:spPr/>
        <p:txBody>
          <a:bodyPr/>
          <a:lstStyle/>
          <a:p>
            <a:fld id="{FA918F22-1231-AB43-96E7-2B8B890DCD5E}" type="slidenum">
              <a:rPr lang="en-US" smtClean="0"/>
              <a:pPr/>
              <a:t>50</a:t>
            </a:fld>
            <a:endParaRPr lang="en-US"/>
          </a:p>
        </p:txBody>
      </p:sp>
    </p:spTree>
    <p:extLst>
      <p:ext uri="{BB962C8B-B14F-4D97-AF65-F5344CB8AC3E}">
        <p14:creationId xmlns:p14="http://schemas.microsoft.com/office/powerpoint/2010/main" val="35772413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790BC-140F-E597-FD59-3566A7291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A6F845-FDBF-DF13-0FFA-EBBE886A14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456F5C-F5F7-93B6-9DE9-9D06EC5941B6}"/>
              </a:ext>
            </a:extLst>
          </p:cNvPr>
          <p:cNvSpPr>
            <a:spLocks noGrp="1"/>
          </p:cNvSpPr>
          <p:nvPr>
            <p:ph type="body" idx="1"/>
          </p:nvPr>
        </p:nvSpPr>
        <p:spPr/>
        <p:txBody>
          <a:bodyPr/>
          <a:lstStyle/>
          <a:p>
            <a:pPr algn="l" rtl="0" fontAlgn="base">
              <a:lnSpc>
                <a:spcPts val="1376"/>
              </a:lnSpc>
              <a:buFont typeface="+mj-lt"/>
              <a:buNone/>
            </a:pPr>
            <a:r>
              <a:rPr lang="en-US" sz="1100" b="1" i="0" u="sng">
                <a:solidFill>
                  <a:srgbClr val="000000"/>
                </a:solidFill>
                <a:effectLst/>
                <a:latin typeface="Aptos" panose="020B0004020202020204" pitchFamily="34" charset="0"/>
              </a:rPr>
              <a:t>ALEX</a:t>
            </a:r>
          </a:p>
          <a:p>
            <a:pPr algn="l" rtl="0" fontAlgn="base">
              <a:lnSpc>
                <a:spcPts val="1376"/>
              </a:lnSpc>
              <a:buFont typeface="+mj-lt"/>
              <a:buNone/>
            </a:pPr>
            <a:r>
              <a:rPr lang="en-US" sz="1100" b="0" i="0">
                <a:solidFill>
                  <a:srgbClr val="000000"/>
                </a:solidFill>
                <a:effectLst/>
                <a:latin typeface="Aptos" panose="020B0004020202020204" pitchFamily="34" charset="0"/>
              </a:rPr>
              <a:t>1. Launch of a new Carrier Ethernet connectivity (</a:t>
            </a:r>
            <a:r>
              <a:rPr lang="en-US" sz="1100" b="0" i="0" err="1">
                <a:solidFill>
                  <a:srgbClr val="000000"/>
                </a:solidFill>
                <a:effectLst/>
                <a:latin typeface="Aptos" panose="020B0004020202020204" pitchFamily="34" charset="0"/>
              </a:rPr>
              <a:t>eAccess</a:t>
            </a:r>
            <a:r>
              <a:rPr lang="en-US" sz="1100" b="0" i="0">
                <a:solidFill>
                  <a:srgbClr val="000000"/>
                </a:solidFill>
                <a:effectLst/>
                <a:latin typeface="Aptos" panose="020B0004020202020204" pitchFamily="34" charset="0"/>
              </a:rPr>
              <a:t>) quoted and ordered using industry-standard APIs (MEF LSO APIs). </a:t>
            </a:r>
          </a:p>
          <a:p>
            <a:pPr algn="l" rtl="0" fontAlgn="base">
              <a:lnSpc>
                <a:spcPts val="1376"/>
              </a:lnSpc>
              <a:buFont typeface="+mj-lt"/>
              <a:buNone/>
            </a:pPr>
            <a:r>
              <a:rPr lang="en-US" sz="1100" b="0" i="0">
                <a:solidFill>
                  <a:srgbClr val="000000"/>
                </a:solidFill>
                <a:effectLst/>
                <a:latin typeface="Aptos" panose="020B0004020202020204" pitchFamily="34" charset="0"/>
              </a:rPr>
              <a:t>2- Launch of our universal CPE, a </a:t>
            </a:r>
            <a:r>
              <a:rPr lang="en-US" sz="1100" b="0" i="0" err="1">
                <a:solidFill>
                  <a:srgbClr val="000000"/>
                </a:solidFill>
                <a:effectLst/>
                <a:latin typeface="Aptos" panose="020B0004020202020204" pitchFamily="34" charset="0"/>
              </a:rPr>
              <a:t>whitebox</a:t>
            </a:r>
            <a:r>
              <a:rPr lang="en-US" sz="1100" b="0" i="0">
                <a:solidFill>
                  <a:srgbClr val="000000"/>
                </a:solidFill>
                <a:effectLst/>
                <a:latin typeface="Aptos" panose="020B0004020202020204" pitchFamily="34" charset="0"/>
              </a:rPr>
              <a:t> installed by Proximus, replacing other physical network devices wholesale customers currently must install at customer premises</a:t>
            </a:r>
          </a:p>
          <a:p>
            <a:pPr algn="l" rtl="0" fontAlgn="base">
              <a:lnSpc>
                <a:spcPts val="1376"/>
              </a:lnSpc>
              <a:buFont typeface="+mj-lt"/>
              <a:buNone/>
            </a:pPr>
            <a:r>
              <a:rPr lang="en-US" sz="1100" b="0" i="0">
                <a:solidFill>
                  <a:srgbClr val="000000"/>
                </a:solidFill>
                <a:effectLst/>
                <a:latin typeface="Aptos" panose="020B0004020202020204" pitchFamily="34" charset="0"/>
              </a:rPr>
              <a:t>   - Launch of a Marketplace where wholesale customers can purchase licenses for Virtual Network Functions (</a:t>
            </a:r>
            <a:r>
              <a:rPr lang="en-US" sz="1100" b="0" i="0" err="1">
                <a:solidFill>
                  <a:srgbClr val="000000"/>
                </a:solidFill>
                <a:effectLst/>
                <a:latin typeface="Aptos" panose="020B0004020202020204" pitchFamily="34" charset="0"/>
              </a:rPr>
              <a:t>eg.</a:t>
            </a:r>
            <a:r>
              <a:rPr lang="en-US" sz="1100" b="0" i="0">
                <a:solidFill>
                  <a:srgbClr val="000000"/>
                </a:solidFill>
                <a:effectLst/>
                <a:latin typeface="Aptos" panose="020B0004020202020204" pitchFamily="34" charset="0"/>
              </a:rPr>
              <a:t> Virtual Router, Firewall, SDWAN, SBC…) from major worldwide providers and deploy them remotely on our universal CPE. </a:t>
            </a:r>
          </a:p>
          <a:p>
            <a:pPr algn="l" rtl="0" fontAlgn="base">
              <a:lnSpc>
                <a:spcPts val="1376"/>
              </a:lnSpc>
              <a:buFont typeface="+mj-lt"/>
              <a:buAutoNum type="arabicPeriod" startAt="3"/>
            </a:pPr>
            <a:r>
              <a:rPr lang="en-US" sz="1100" b="0" i="0" u="sng">
                <a:solidFill>
                  <a:srgbClr val="000000"/>
                </a:solidFill>
                <a:effectLst/>
                <a:latin typeface="Aptos" panose="020B0004020202020204" pitchFamily="34" charset="0"/>
              </a:rPr>
              <a:t>Network on demand</a:t>
            </a:r>
            <a:r>
              <a:rPr lang="en-US" sz="1100" b="0" i="0">
                <a:solidFill>
                  <a:srgbClr val="000000"/>
                </a:solidFill>
                <a:effectLst/>
                <a:latin typeface="Aptos" panose="020B0004020202020204" pitchFamily="34" charset="0"/>
              </a:rPr>
              <a:t>: POC of 2 use cases for EBU: </a:t>
            </a:r>
          </a:p>
          <a:p>
            <a:pPr lvl="1" algn="l" rtl="0" fontAlgn="base">
              <a:lnSpc>
                <a:spcPts val="1376"/>
              </a:lnSpc>
              <a:buFont typeface="+mj-lt"/>
              <a:buAutoNum type="arabicPeriod"/>
            </a:pPr>
            <a:r>
              <a:rPr lang="en-US" sz="1100" b="0" i="0">
                <a:solidFill>
                  <a:srgbClr val="000000"/>
                </a:solidFill>
                <a:effectLst/>
                <a:latin typeface="Aptos" panose="020B0004020202020204" pitchFamily="34" charset="0"/>
              </a:rPr>
              <a:t>Purchase and activate Quality on Demand: by provisioning </a:t>
            </a:r>
            <a:r>
              <a:rPr lang="en-US" sz="1100" b="0" i="0" err="1">
                <a:solidFill>
                  <a:srgbClr val="000000"/>
                </a:solidFill>
                <a:effectLst/>
                <a:latin typeface="Aptos" panose="020B0004020202020204" pitchFamily="34" charset="0"/>
              </a:rPr>
              <a:t>QoD</a:t>
            </a:r>
            <a:r>
              <a:rPr lang="en-US" sz="1100" b="0" i="0">
                <a:solidFill>
                  <a:srgbClr val="000000"/>
                </a:solidFill>
                <a:effectLst/>
                <a:latin typeface="Aptos" panose="020B0004020202020204" pitchFamily="34" charset="0"/>
              </a:rPr>
              <a:t>, the user gets more throughput than his peers who aren't provisioned. </a:t>
            </a:r>
          </a:p>
          <a:p>
            <a:pPr lvl="1" algn="l" rtl="0" fontAlgn="base">
              <a:lnSpc>
                <a:spcPts val="1376"/>
              </a:lnSpc>
              <a:buFont typeface="+mj-lt"/>
              <a:buAutoNum type="arabicPeriod" startAt="2"/>
            </a:pPr>
            <a:r>
              <a:rPr lang="en-US" sz="1100" b="0" i="0">
                <a:solidFill>
                  <a:srgbClr val="000000"/>
                </a:solidFill>
                <a:effectLst/>
                <a:latin typeface="Aptos" panose="020B0004020202020204" pitchFamily="34" charset="0"/>
              </a:rPr>
              <a:t>Requesting allocation to an existing Service Slice: by being allocated to a specific slice, the user's usage is transmitted on a separate "highway" which ensures connectivity even in a congested network. </a:t>
            </a:r>
          </a:p>
          <a:p>
            <a:pPr algn="l" rtl="0" fontAlgn="base">
              <a:lnSpc>
                <a:spcPts val="1376"/>
              </a:lnSpc>
              <a:buFont typeface="+mj-lt"/>
              <a:buAutoNum type="arabicPeriod" startAt="4"/>
            </a:pPr>
            <a:r>
              <a:rPr lang="en-US" sz="1100" b="0" i="0" u="sng">
                <a:solidFill>
                  <a:srgbClr val="000000"/>
                </a:solidFill>
                <a:effectLst/>
                <a:latin typeface="Aptos" panose="020B0004020202020204" pitchFamily="34" charset="0"/>
              </a:rPr>
              <a:t>Retrieve info from the network:</a:t>
            </a:r>
            <a:r>
              <a:rPr lang="en-US" sz="1100" b="0" i="0">
                <a:solidFill>
                  <a:srgbClr val="000000"/>
                </a:solidFill>
                <a:effectLst/>
                <a:latin typeface="Aptos" panose="020B0004020202020204" pitchFamily="34" charset="0"/>
              </a:rPr>
              <a:t> </a:t>
            </a:r>
          </a:p>
          <a:p>
            <a:pPr lvl="1" algn="l" rtl="0" fontAlgn="base">
              <a:lnSpc>
                <a:spcPts val="1376"/>
              </a:lnSpc>
              <a:buFont typeface="+mj-lt"/>
              <a:buAutoNum type="arabicPeriod"/>
            </a:pPr>
            <a:r>
              <a:rPr lang="en-US" sz="1100" b="0" i="0">
                <a:solidFill>
                  <a:srgbClr val="000000"/>
                </a:solidFill>
                <a:effectLst/>
                <a:latin typeface="Aptos" panose="020B0004020202020204" pitchFamily="34" charset="0"/>
              </a:rPr>
              <a:t>Transform some of our existing APIs already used by </a:t>
            </a:r>
            <a:r>
              <a:rPr lang="en-US" sz="1100" b="0" i="0" err="1">
                <a:solidFill>
                  <a:srgbClr val="000000"/>
                </a:solidFill>
                <a:effectLst/>
                <a:latin typeface="Aptos" panose="020B0004020202020204" pitchFamily="34" charset="0"/>
              </a:rPr>
              <a:t>Telesign</a:t>
            </a:r>
            <a:r>
              <a:rPr lang="en-US" sz="1100" b="0" i="0">
                <a:solidFill>
                  <a:srgbClr val="000000"/>
                </a:solidFill>
                <a:effectLst/>
                <a:latin typeface="Aptos" panose="020B0004020202020204" pitchFamily="34" charset="0"/>
              </a:rPr>
              <a:t> (</a:t>
            </a:r>
            <a:r>
              <a:rPr lang="en-US" sz="1100" b="0" i="0" err="1">
                <a:solidFill>
                  <a:srgbClr val="000000"/>
                </a:solidFill>
                <a:effectLst/>
                <a:latin typeface="Aptos" panose="020B0004020202020204" pitchFamily="34" charset="0"/>
              </a:rPr>
              <a:t>eg.</a:t>
            </a:r>
            <a:r>
              <a:rPr lang="en-US" sz="1100" b="0" i="0">
                <a:solidFill>
                  <a:srgbClr val="000000"/>
                </a:solidFill>
                <a:effectLst/>
                <a:latin typeface="Aptos" panose="020B0004020202020204" pitchFamily="34" charset="0"/>
              </a:rPr>
              <a:t> Airbnb) or create new APIs in industry standards (Camara APIs) </a:t>
            </a:r>
          </a:p>
          <a:p>
            <a:pPr lvl="1" algn="l" rtl="0" fontAlgn="base">
              <a:lnSpc>
                <a:spcPts val="1376"/>
              </a:lnSpc>
              <a:buFont typeface="+mj-lt"/>
              <a:buAutoNum type="arabicPeriod" startAt="2"/>
            </a:pPr>
            <a:r>
              <a:rPr lang="en-US" sz="1100" b="0" i="0">
                <a:solidFill>
                  <a:srgbClr val="000000"/>
                </a:solidFill>
                <a:effectLst/>
                <a:latin typeface="Aptos" panose="020B0004020202020204" pitchFamily="34" charset="0"/>
              </a:rPr>
              <a:t>Build the ecosystem and business models for fraud prevention APIs which fulfil bank sector needs </a:t>
            </a:r>
          </a:p>
          <a:p>
            <a:pPr lvl="1" algn="l" rtl="0" fontAlgn="base">
              <a:lnSpc>
                <a:spcPts val="1376"/>
              </a:lnSpc>
              <a:buFont typeface="+mj-lt"/>
              <a:buAutoNum type="arabicPeriod" startAt="3"/>
            </a:pPr>
            <a:r>
              <a:rPr lang="en-US" sz="1100" b="0" i="0">
                <a:solidFill>
                  <a:srgbClr val="000000"/>
                </a:solidFill>
                <a:effectLst/>
                <a:latin typeface="Aptos" panose="020B0004020202020204" pitchFamily="34" charset="0"/>
              </a:rPr>
              <a:t>Expose the CAMARA Number Verification API to BICS, enabling their POC with Meta  </a:t>
            </a:r>
          </a:p>
          <a:p>
            <a:pPr>
              <a:lnSpc>
                <a:spcPct val="107000"/>
              </a:lnSpc>
              <a:spcAft>
                <a:spcPts val="800"/>
              </a:spcAft>
            </a:pPr>
            <a:endParaRPr lang="en-BE"/>
          </a:p>
        </p:txBody>
      </p:sp>
      <p:sp>
        <p:nvSpPr>
          <p:cNvPr id="4" name="Slide Number Placeholder 3">
            <a:extLst>
              <a:ext uri="{FF2B5EF4-FFF2-40B4-BE49-F238E27FC236}">
                <a16:creationId xmlns:a16="http://schemas.microsoft.com/office/drawing/2014/main" id="{DDB13950-1624-CD97-B3A2-C4D4EB6D0FD4}"/>
              </a:ext>
            </a:extLst>
          </p:cNvPr>
          <p:cNvSpPr>
            <a:spLocks noGrp="1"/>
          </p:cNvSpPr>
          <p:nvPr>
            <p:ph type="sldNum" sz="quarter" idx="5"/>
          </p:nvPr>
        </p:nvSpPr>
        <p:spPr/>
        <p:txBody>
          <a:bodyPr/>
          <a:lstStyle/>
          <a:p>
            <a:fld id="{FA918F22-1231-AB43-96E7-2B8B890DCD5E}" type="slidenum">
              <a:rPr lang="en-US" smtClean="0"/>
              <a:pPr/>
              <a:t>51</a:t>
            </a:fld>
            <a:endParaRPr lang="en-US"/>
          </a:p>
        </p:txBody>
      </p:sp>
    </p:spTree>
    <p:extLst>
      <p:ext uri="{BB962C8B-B14F-4D97-AF65-F5344CB8AC3E}">
        <p14:creationId xmlns:p14="http://schemas.microsoft.com/office/powerpoint/2010/main" val="17352244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4474E-4B52-CB71-C27B-2192658BAB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47981-CAB6-40F6-5EC1-7599927CE3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45B41-8C3A-1C44-E3A5-59764198FAAE}"/>
              </a:ext>
            </a:extLst>
          </p:cNvPr>
          <p:cNvSpPr>
            <a:spLocks noGrp="1"/>
          </p:cNvSpPr>
          <p:nvPr>
            <p:ph type="body" idx="1"/>
          </p:nvPr>
        </p:nvSpPr>
        <p:spPr/>
        <p:txBody>
          <a:bodyPr/>
          <a:lstStyle/>
          <a:p>
            <a:r>
              <a:rPr lang="en-US" sz="1200" dirty="0"/>
              <a:t>Video one minute &gt; Magali</a:t>
            </a:r>
          </a:p>
          <a:p>
            <a:endParaRPr lang="fr-BE" dirty="0"/>
          </a:p>
          <a:p>
            <a:endParaRPr lang="en-BE" dirty="0"/>
          </a:p>
        </p:txBody>
      </p:sp>
      <p:sp>
        <p:nvSpPr>
          <p:cNvPr id="4" name="Slide Number Placeholder 3">
            <a:extLst>
              <a:ext uri="{FF2B5EF4-FFF2-40B4-BE49-F238E27FC236}">
                <a16:creationId xmlns:a16="http://schemas.microsoft.com/office/drawing/2014/main" id="{C3B372E2-309F-7712-0C97-70EBA8219397}"/>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27486852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ED80D-9BE9-740F-C1F6-B246933D2E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4558EC-92C5-B9BB-5A56-759B1ACED9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F71BF5-6241-7B04-C444-7F4C9C51694A}"/>
              </a:ext>
            </a:extLst>
          </p:cNvPr>
          <p:cNvSpPr>
            <a:spLocks noGrp="1"/>
          </p:cNvSpPr>
          <p:nvPr>
            <p:ph type="body" idx="1"/>
          </p:nvPr>
        </p:nvSpPr>
        <p:spPr/>
        <p:txBody>
          <a:bodyPr/>
          <a:lstStyle/>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Proximus Bold"/>
                <a:ea typeface="+mn-ea"/>
                <a:cs typeface="+mn-cs"/>
              </a:rPr>
              <a:t>GAEL</a:t>
            </a:r>
          </a:p>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Proximus energy strategy is a key element of its Climate Transition Plan and NBU as well as the Energy Tribe have a key role to play.</a:t>
            </a:r>
          </a:p>
          <a:p>
            <a:pPr marL="205740" marR="0" lvl="1" indent="0" algn="l" defTabSz="41148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A couple of number to set the scene:</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Over 90% of our energy consumption at Proximus SA comes from electricity. We are committed to achieving net zero greenhouse gas emissions across our entire value chain by 2040, using 2020 as baseline—ten years ahead of Belgium’s 2050 target. Energy usage is a cornerstone of the transition to net zero. That’s quite a challenge!</a:t>
            </a: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Only in Belgium, we spend 80 </a:t>
            </a:r>
            <a:r>
              <a:rPr kumimoji="0" lang="en-US" sz="1100" b="0" i="0" u="none" strike="noStrike" kern="1200" cap="none" spc="0" normalizeH="0" baseline="0" noProof="0" err="1">
                <a:ln>
                  <a:noFill/>
                </a:ln>
                <a:solidFill>
                  <a:prstClr val="black"/>
                </a:solidFill>
                <a:effectLst/>
                <a:uLnTx/>
                <a:uFillTx/>
                <a:latin typeface="Proximus Bold"/>
                <a:ea typeface="+mn-ea"/>
                <a:cs typeface="+mn-cs"/>
              </a:rPr>
              <a:t>mio</a:t>
            </a:r>
            <a:r>
              <a:rPr kumimoji="0" lang="en-US" sz="1100" b="0" i="0" u="none" strike="noStrike" kern="1200" cap="none" spc="0" normalizeH="0" baseline="0" noProof="0">
                <a:ln>
                  <a:noFill/>
                </a:ln>
                <a:solidFill>
                  <a:prstClr val="black"/>
                </a:solidFill>
                <a:effectLst/>
                <a:uLnTx/>
                <a:uFillTx/>
                <a:latin typeface="Proximus Bold"/>
                <a:ea typeface="+mn-ea"/>
                <a:cs typeface="+mn-cs"/>
              </a:rPr>
              <a:t> euro per year on electricity – the lion share within NBU due to the fixed and mobile networks, the data centers and the technical buildings we manage.</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Since 2019 we source 100% of our electricity in a sustainable way.</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And we even produce – although for a limited part – our own electricity. In the meantime we have </a:t>
            </a:r>
            <a:r>
              <a:rPr kumimoji="0" lang="en-US" sz="1100" b="0" i="0" u="none" strike="noStrike" kern="1200" cap="none" spc="0" normalizeH="0" baseline="0" noProof="0" err="1">
                <a:ln>
                  <a:noFill/>
                </a:ln>
                <a:solidFill>
                  <a:prstClr val="black"/>
                </a:solidFill>
                <a:effectLst/>
                <a:uLnTx/>
                <a:uFillTx/>
                <a:latin typeface="Proximus Bold"/>
                <a:ea typeface="+mn-ea"/>
                <a:cs typeface="+mn-cs"/>
              </a:rPr>
              <a:t>equiped</a:t>
            </a:r>
            <a:r>
              <a:rPr kumimoji="0" lang="en-US" sz="1100" b="0" i="0" u="none" strike="noStrike" kern="1200" cap="none" spc="0" normalizeH="0" baseline="0" noProof="0">
                <a:ln>
                  <a:noFill/>
                </a:ln>
                <a:solidFill>
                  <a:prstClr val="black"/>
                </a:solidFill>
                <a:effectLst/>
                <a:uLnTx/>
                <a:uFillTx/>
                <a:latin typeface="Proximus Bold"/>
                <a:ea typeface="+mn-ea"/>
                <a:cs typeface="+mn-cs"/>
              </a:rPr>
              <a:t> 64 of our buildings with solar panels</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lvl="1"/>
            <a:endParaRPr lang="en-US" sz="500"/>
          </a:p>
        </p:txBody>
      </p:sp>
      <p:sp>
        <p:nvSpPr>
          <p:cNvPr id="4" name="Slide Number Placeholder 3">
            <a:extLst>
              <a:ext uri="{FF2B5EF4-FFF2-40B4-BE49-F238E27FC236}">
                <a16:creationId xmlns:a16="http://schemas.microsoft.com/office/drawing/2014/main" id="{07160A34-90B1-9F6B-FAEC-E3DF0F6739A0}"/>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2469404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9A49D-D9ED-1E71-1617-8AE5C5D3B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A377D9-2546-5493-B086-200906DE9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849309-049B-D5B4-8531-2E886124BB71}"/>
              </a:ext>
            </a:extLst>
          </p:cNvPr>
          <p:cNvSpPr>
            <a:spLocks noGrp="1"/>
          </p:cNvSpPr>
          <p:nvPr>
            <p:ph type="body" idx="1"/>
          </p:nvPr>
        </p:nvSpPr>
        <p:spPr/>
        <p:txBody>
          <a:bodyPr/>
          <a:lstStyle/>
          <a:p>
            <a:r>
              <a:rPr lang="en-US" sz="800" b="1" u="sng" dirty="0">
                <a:latin typeface="Proximus Bold"/>
              </a:rPr>
              <a:t>GAEL</a:t>
            </a:r>
          </a:p>
          <a:p>
            <a:r>
              <a:rPr lang="en-US" sz="800" dirty="0">
                <a:latin typeface="Proximus Bold"/>
              </a:rPr>
              <a:t>This year, we will focus our implementation plan within NBU around 4 axes focused on both energy cost reduction</a:t>
            </a:r>
          </a:p>
          <a:p>
            <a:endParaRPr lang="en-US" sz="800" dirty="0"/>
          </a:p>
          <a:p>
            <a:pPr marL="228600" indent="-228600">
              <a:buAutoNum type="arabicParenR"/>
            </a:pPr>
            <a:r>
              <a:rPr lang="en-US" sz="800" dirty="0">
                <a:latin typeface="Proximus Bold"/>
              </a:rPr>
              <a:t>Our number one priority is getting the consumption down. It is a no-regret move that will help NBU in making its numbers. We have set up a program called "Watt's Up" where we share the efficiency targets together with the team leads and are setting up a list of concrete actions to be implemented within the areas of networks, data centers and buildings. </a:t>
            </a:r>
          </a:p>
          <a:p>
            <a:pPr marL="228600" indent="-228600">
              <a:buAutoNum type="arabicParenR"/>
            </a:pPr>
            <a:endParaRPr lang="en-US" sz="800" dirty="0"/>
          </a:p>
          <a:p>
            <a:pPr marL="228600" indent="-228600">
              <a:buAutoNum type="arabicParenR"/>
            </a:pPr>
            <a:r>
              <a:rPr lang="en-US" sz="800" dirty="0">
                <a:latin typeface="Proximus Bold"/>
              </a:rPr>
              <a:t>Key to limit the amount spent on energy, is the limitation in number of technologies we keep alive. An indirect effect of copper switch-off and network sharing agreements, is an important reduction of energy consumed.</a:t>
            </a:r>
          </a:p>
          <a:p>
            <a:pPr marL="228600" indent="-228600">
              <a:buAutoNum type="arabicParenR"/>
            </a:pPr>
            <a:endParaRPr lang="en-US" sz="800" dirty="0"/>
          </a:p>
          <a:p>
            <a:pPr marL="228600" indent="-228600">
              <a:buAutoNum type="arabicParenR"/>
            </a:pPr>
            <a:r>
              <a:rPr lang="en-US" sz="800" dirty="0">
                <a:latin typeface="Proximus Bold"/>
              </a:rPr>
              <a:t>The energy market is in full transformation. The increase of renewables like solar and wind energy are putting pressure on the grid and require for flexibility both at the side of the grid provider as at the side of customers like Proximus. Flexibility will change the dynamics of the energy market and there might even be some revenue opportunities into it for Proximus. In 2025 we will do a live proof-of-concept to check how we can decrease our cost by embracing flexibility and we might even find a way to develop extra income for Proximus.</a:t>
            </a:r>
            <a:endParaRPr lang="en-US" sz="800" dirty="0"/>
          </a:p>
          <a:p>
            <a:pPr marL="228600" indent="-228600">
              <a:buAutoNum type="arabicParenR"/>
            </a:pPr>
            <a:endParaRPr lang="en-US" sz="800" dirty="0">
              <a:latin typeface="Proximus Bold"/>
            </a:endParaRPr>
          </a:p>
          <a:p>
            <a:pPr marL="228600" indent="-228600">
              <a:buAutoNum type="arabicParenR"/>
            </a:pPr>
            <a:r>
              <a:rPr lang="en-US" sz="800" dirty="0">
                <a:latin typeface="Proximus Bold"/>
              </a:rPr>
              <a:t>And we will continue to source 100% renewable energy and extend the amount of solar panels on our roofs in 2025. </a:t>
            </a:r>
            <a:endParaRPr lang="en-US" sz="800" dirty="0"/>
          </a:p>
        </p:txBody>
      </p:sp>
      <p:sp>
        <p:nvSpPr>
          <p:cNvPr id="4" name="Slide Number Placeholder 3">
            <a:extLst>
              <a:ext uri="{FF2B5EF4-FFF2-40B4-BE49-F238E27FC236}">
                <a16:creationId xmlns:a16="http://schemas.microsoft.com/office/drawing/2014/main" id="{D84C9BF4-5EF8-2436-631B-A259F8E841CB}"/>
              </a:ext>
            </a:extLst>
          </p:cNvPr>
          <p:cNvSpPr>
            <a:spLocks noGrp="1"/>
          </p:cNvSpPr>
          <p:nvPr>
            <p:ph type="sldNum" sz="quarter" idx="5"/>
          </p:nvPr>
        </p:nvSpPr>
        <p:spPr/>
        <p:txBody>
          <a:bodyPr/>
          <a:lstStyle/>
          <a:p>
            <a:fld id="{FA918F22-1231-AB43-96E7-2B8B890DCD5E}" type="slidenum">
              <a:rPr lang="en-US" smtClean="0"/>
              <a:pPr/>
              <a:t>54</a:t>
            </a:fld>
            <a:endParaRPr lang="en-US"/>
          </a:p>
        </p:txBody>
      </p:sp>
    </p:spTree>
    <p:extLst>
      <p:ext uri="{BB962C8B-B14F-4D97-AF65-F5344CB8AC3E}">
        <p14:creationId xmlns:p14="http://schemas.microsoft.com/office/powerpoint/2010/main" val="3048698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rPr>
              <a:t>ROBIN </a:t>
            </a:r>
            <a:r>
              <a:rPr lang="en-US" sz="1100" u="sng" kern="100" dirty="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en-US" sz="1100" b="0" dirty="0">
              <a:latin typeface="Proximus Bold"/>
            </a:endParaRPr>
          </a:p>
          <a:p>
            <a:r>
              <a:rPr lang="en-US" sz="1100" b="1" u="sng" dirty="0">
                <a:latin typeface="Proximus Bold"/>
              </a:rPr>
              <a:t>ROBIN </a:t>
            </a:r>
            <a:r>
              <a:rPr lang="en-US" sz="1100" b="0" dirty="0">
                <a:latin typeface="Proximus Bold"/>
              </a:rPr>
              <a:t>: </a:t>
            </a:r>
            <a:r>
              <a:rPr lang="nl-NL" sz="1100" b="0" i="0" dirty="0">
                <a:solidFill>
                  <a:srgbClr val="242424"/>
                </a:solidFill>
                <a:effectLst/>
                <a:latin typeface="Segoe UI" panose="020B0502040204020203" pitchFamily="34" charset="0"/>
              </a:rPr>
              <a:t>Hartelijk dank Patrick, Laurent, Alex en </a:t>
            </a:r>
            <a:r>
              <a:rPr lang="nl-NL" sz="1100" b="0" i="0" dirty="0" err="1">
                <a:solidFill>
                  <a:srgbClr val="242424"/>
                </a:solidFill>
                <a:effectLst/>
                <a:latin typeface="Segoe UI" panose="020B0502040204020203" pitchFamily="34" charset="0"/>
              </a:rPr>
              <a:t>Gael</a:t>
            </a:r>
            <a:r>
              <a:rPr lang="nl-NL" sz="1100" b="0" i="0" dirty="0">
                <a:solidFill>
                  <a:srgbClr val="242424"/>
                </a:solidFill>
                <a:effectLst/>
                <a:latin typeface="Segoe UI" panose="020B0502040204020203" pitchFamily="34" charset="0"/>
              </a:rPr>
              <a:t>. Ik ben blij dat termen als OSS en CNF toch al iets meer steek houden nu. Ik vermoed dat onze kersverse voogdijminister, minister Vanessa </a:t>
            </a:r>
            <a:r>
              <a:rPr lang="nl-NL" sz="1100" b="0" i="0" dirty="0" err="1">
                <a:solidFill>
                  <a:srgbClr val="242424"/>
                </a:solidFill>
                <a:effectLst/>
                <a:latin typeface="Segoe UI" panose="020B0502040204020203" pitchFamily="34" charset="0"/>
              </a:rPr>
              <a:t>Matz</a:t>
            </a:r>
            <a:r>
              <a:rPr lang="nl-NL" sz="1100" b="0" i="0" dirty="0">
                <a:solidFill>
                  <a:srgbClr val="242424"/>
                </a:solidFill>
                <a:effectLst/>
                <a:latin typeface="Segoe UI" panose="020B0502040204020203" pitchFamily="34" charset="0"/>
              </a:rPr>
              <a:t> verheugd zal zijn over onze plannen om </a:t>
            </a:r>
            <a:r>
              <a:rPr lang="nl-NL" sz="1100" b="0" i="0" dirty="0" err="1">
                <a:solidFill>
                  <a:srgbClr val="242424"/>
                </a:solidFill>
                <a:effectLst/>
                <a:latin typeface="Segoe UI" panose="020B0502040204020203" pitchFamily="34" charset="0"/>
              </a:rPr>
              <a:t>bold</a:t>
            </a:r>
            <a:r>
              <a:rPr lang="nl-NL" sz="1100" b="0" i="0" dirty="0">
                <a:solidFill>
                  <a:srgbClr val="242424"/>
                </a:solidFill>
                <a:effectLst/>
                <a:latin typeface="Segoe UI" panose="020B0502040204020203" pitchFamily="34" charset="0"/>
              </a:rPr>
              <a:t> de toekomst tegemoet te gaan en steeds mee te blijven met de laatste evoluties. We hebben het beste wel voor het laatste gehouden, want de laatste pijler betreft de “</a:t>
            </a:r>
            <a:r>
              <a:rPr lang="nl-NL" sz="1100" b="0" i="0" dirty="0" err="1">
                <a:solidFill>
                  <a:srgbClr val="242424"/>
                </a:solidFill>
                <a:effectLst/>
                <a:latin typeface="Segoe UI" panose="020B0502040204020203" pitchFamily="34" charset="0"/>
              </a:rPr>
              <a:t>Bold</a:t>
            </a:r>
            <a:r>
              <a:rPr lang="nl-NL" sz="1100" b="0" i="0" dirty="0">
                <a:solidFill>
                  <a:srgbClr val="242424"/>
                </a:solidFill>
                <a:effectLst/>
                <a:latin typeface="Segoe UI" panose="020B0502040204020203" pitchFamily="34" charset="0"/>
              </a:rPr>
              <a:t> </a:t>
            </a:r>
            <a:r>
              <a:rPr lang="nl-NL" sz="1100" b="0" i="0" dirty="0" err="1">
                <a:solidFill>
                  <a:srgbClr val="242424"/>
                </a:solidFill>
                <a:effectLst/>
                <a:latin typeface="Segoe UI" panose="020B0502040204020203" pitchFamily="34" charset="0"/>
              </a:rPr>
              <a:t>people</a:t>
            </a:r>
            <a:r>
              <a:rPr lang="nl-NL" sz="1100" b="0" i="0" dirty="0">
                <a:solidFill>
                  <a:srgbClr val="242424"/>
                </a:solidFill>
                <a:effectLst/>
                <a:latin typeface="Segoe UI" panose="020B0502040204020203" pitchFamily="34" charset="0"/>
              </a:rPr>
              <a:t>”. Dat zijn wij allen samen, die dag in dag uit het verschil maken. Ik nodig dan ook graag Merel (HR Manager) uit om deze pijler verder toe te lichten.. </a:t>
            </a:r>
          </a:p>
          <a:p>
            <a:endParaRPr lang="en-US" sz="1100" b="0" dirty="0">
              <a:latin typeface="Proximus Bold"/>
            </a:endParaRPr>
          </a:p>
          <a:p>
            <a:r>
              <a:rPr lang="en-US" sz="1100" b="1" dirty="0">
                <a:latin typeface="Proximus Bold"/>
              </a:rPr>
              <a:t>SWITCH </a:t>
            </a:r>
            <a:r>
              <a:rPr lang="en-US" sz="1100" b="0" dirty="0">
                <a:latin typeface="Proximus Bold"/>
              </a:rPr>
              <a:t>: Patrick Laurent, Alex, Gael &amp; Robin out. Merel in</a:t>
            </a:r>
          </a:p>
        </p:txBody>
      </p:sp>
      <p:sp>
        <p:nvSpPr>
          <p:cNvPr id="4" name="Slide Number Placeholder 3"/>
          <p:cNvSpPr>
            <a:spLocks noGrp="1"/>
          </p:cNvSpPr>
          <p:nvPr>
            <p:ph type="sldNum" sz="quarter" idx="5"/>
          </p:nvPr>
        </p:nvSpPr>
        <p:spPr/>
        <p:txBody>
          <a:bodyPr/>
          <a:lstStyle/>
          <a:p>
            <a:fld id="{FA918F22-1231-AB43-96E7-2B8B890DCD5E}" type="slidenum">
              <a:rPr lang="en-US" smtClean="0"/>
              <a:pPr/>
              <a:t>55</a:t>
            </a:fld>
            <a:endParaRPr lang="en-US"/>
          </a:p>
        </p:txBody>
      </p:sp>
    </p:spTree>
    <p:extLst>
      <p:ext uri="{BB962C8B-B14F-4D97-AF65-F5344CB8AC3E}">
        <p14:creationId xmlns:p14="http://schemas.microsoft.com/office/powerpoint/2010/main" val="16220059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03FF4-6F07-5EB6-48EB-CD83A1D276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C16169-2905-13F5-5D93-4E6F477CB8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C4EA43-201B-2273-6FA1-C60E6B94A0EE}"/>
              </a:ext>
            </a:extLst>
          </p:cNvPr>
          <p:cNvSpPr>
            <a:spLocks noGrp="1"/>
          </p:cNvSpPr>
          <p:nvPr>
            <p:ph type="body" idx="1"/>
          </p:nvPr>
        </p:nvSpPr>
        <p:spPr/>
        <p:txBody>
          <a:bodyPr/>
          <a:lstStyle/>
          <a:p>
            <a:r>
              <a:rPr lang="en-BE" sz="1100" b="1" u="sng">
                <a:latin typeface="Proximus Bold"/>
              </a:rPr>
              <a:t>MEREL</a:t>
            </a:r>
            <a:endParaRPr lang="en-US" sz="1100" b="1" u="sng">
              <a:latin typeface="Proximus Bold"/>
            </a:endParaRPr>
          </a:p>
          <a:p>
            <a:r>
              <a:rPr lang="en-US" sz="1100" err="1">
                <a:latin typeface="Proximus Bold"/>
              </a:rPr>
              <a:t>Nieuwe</a:t>
            </a:r>
            <a:r>
              <a:rPr lang="en-US" sz="1100">
                <a:latin typeface="Proximus Bold"/>
              </a:rPr>
              <a:t> </a:t>
            </a:r>
            <a:r>
              <a:rPr lang="en-US" sz="1100" err="1">
                <a:latin typeface="Proximus Bold"/>
              </a:rPr>
              <a:t>projecten</a:t>
            </a:r>
            <a:r>
              <a:rPr lang="en-US" sz="1100">
                <a:latin typeface="Proximus Bold"/>
              </a:rPr>
              <a:t>, </a:t>
            </a:r>
            <a:r>
              <a:rPr lang="en-US" sz="1100" err="1">
                <a:latin typeface="Proximus Bold"/>
              </a:rPr>
              <a:t>snel</a:t>
            </a:r>
            <a:r>
              <a:rPr lang="en-US" sz="1100">
                <a:latin typeface="Proximus Bold"/>
              </a:rPr>
              <a:t> </a:t>
            </a:r>
            <a:r>
              <a:rPr lang="en-US" sz="1100" err="1">
                <a:latin typeface="Proximus Bold"/>
              </a:rPr>
              <a:t>veranderende</a:t>
            </a:r>
            <a:r>
              <a:rPr lang="en-US" sz="1100">
                <a:latin typeface="Proximus Bold"/>
              </a:rPr>
              <a:t> </a:t>
            </a:r>
            <a:r>
              <a:rPr lang="en-US" sz="1100" err="1">
                <a:latin typeface="Proximus Bold"/>
              </a:rPr>
              <a:t>omgeving</a:t>
            </a:r>
            <a:r>
              <a:rPr lang="en-US" sz="1100">
                <a:latin typeface="Proximus Bold"/>
              </a:rPr>
              <a:t>. </a:t>
            </a:r>
            <a:r>
              <a:rPr lang="en-US" sz="1100" err="1">
                <a:latin typeface="Proximus Bold"/>
              </a:rPr>
              <a:t>Horen</a:t>
            </a:r>
            <a:r>
              <a:rPr lang="en-US" sz="1100">
                <a:latin typeface="Proximus Bold"/>
              </a:rPr>
              <a:t> over </a:t>
            </a:r>
            <a:r>
              <a:rPr lang="en-US" sz="1100" err="1">
                <a:latin typeface="Proximus Bold"/>
              </a:rPr>
              <a:t>spannende</a:t>
            </a:r>
            <a:r>
              <a:rPr lang="en-US" sz="1100">
                <a:latin typeface="Proximus Bold"/>
              </a:rPr>
              <a:t> </a:t>
            </a:r>
            <a:r>
              <a:rPr lang="en-US" sz="1100" err="1">
                <a:latin typeface="Proximus Bold"/>
              </a:rPr>
              <a:t>evoluties</a:t>
            </a:r>
            <a:r>
              <a:rPr lang="en-US" sz="1100">
                <a:latin typeface="Proximus Bold"/>
              </a:rPr>
              <a:t> in NBU.</a:t>
            </a:r>
            <a:br>
              <a:rPr lang="en-US" sz="1100">
                <a:latin typeface="Proximus Bold"/>
              </a:rPr>
            </a:br>
            <a:r>
              <a:rPr lang="en-US" sz="1100">
                <a:latin typeface="Proximus Bold"/>
              </a:rPr>
              <a:t>Impact op workforce =&gt; </a:t>
            </a:r>
            <a:r>
              <a:rPr lang="en-US" sz="1100" err="1">
                <a:latin typeface="Proximus Bold"/>
              </a:rPr>
              <a:t>medewerkers</a:t>
            </a:r>
            <a:r>
              <a:rPr lang="en-US" sz="1100">
                <a:latin typeface="Proximus Bold"/>
              </a:rPr>
              <a:t> </a:t>
            </a:r>
            <a:r>
              <a:rPr lang="en-US" sz="1100" err="1">
                <a:latin typeface="Proximus Bold"/>
              </a:rPr>
              <a:t>grootste</a:t>
            </a:r>
            <a:r>
              <a:rPr lang="en-US" sz="1100">
                <a:latin typeface="Proximus Bold"/>
              </a:rPr>
              <a:t> asset</a:t>
            </a:r>
          </a:p>
          <a:p>
            <a:r>
              <a:rPr lang="en-US" sz="1100" err="1">
                <a:latin typeface="Proximus Bold"/>
              </a:rPr>
              <a:t>Anticiperen</a:t>
            </a:r>
            <a:r>
              <a:rPr lang="en-US" sz="1100">
                <a:latin typeface="Proximus Bold"/>
              </a:rPr>
              <a:t> op </a:t>
            </a:r>
            <a:r>
              <a:rPr lang="en-US" sz="1100" err="1">
                <a:latin typeface="Proximus Bold"/>
              </a:rPr>
              <a:t>verandering</a:t>
            </a:r>
            <a:r>
              <a:rPr lang="en-US" sz="1100">
                <a:latin typeface="Proximus Bold"/>
              </a:rPr>
              <a:t> =&gt; SWP &amp; pension wall</a:t>
            </a:r>
          </a:p>
          <a:p>
            <a:r>
              <a:rPr lang="en-US" sz="1100">
                <a:latin typeface="Proximus Bold"/>
              </a:rPr>
              <a:t>SWP: talent &amp; </a:t>
            </a:r>
            <a:r>
              <a:rPr lang="en-US" sz="1100" err="1">
                <a:latin typeface="Proximus Bold"/>
              </a:rPr>
              <a:t>plaats</a:t>
            </a:r>
            <a:r>
              <a:rPr lang="en-US" sz="1100">
                <a:latin typeface="Proximus Bold"/>
              </a:rPr>
              <a:t> - check </a:t>
            </a:r>
            <a:r>
              <a:rPr lang="en-US" sz="1100" err="1">
                <a:latin typeface="Proximus Bold"/>
              </a:rPr>
              <a:t>balans</a:t>
            </a:r>
            <a:r>
              <a:rPr lang="en-US" sz="1100">
                <a:latin typeface="Proximus Bold"/>
              </a:rPr>
              <a:t> =&gt; Hoe? Workload vs workforce (</a:t>
            </a:r>
            <a:r>
              <a:rPr lang="en-US" sz="1100" err="1">
                <a:latin typeface="Proximus Bold"/>
              </a:rPr>
              <a:t>pensioen</a:t>
            </a:r>
            <a:r>
              <a:rPr lang="en-US" sz="1100">
                <a:latin typeface="Proximus Bold"/>
              </a:rPr>
              <a:t>) &amp; </a:t>
            </a:r>
            <a:r>
              <a:rPr lang="en-US" sz="1100" err="1">
                <a:latin typeface="Proximus Bold"/>
              </a:rPr>
              <a:t>bepaal</a:t>
            </a:r>
            <a:r>
              <a:rPr lang="en-US" sz="1100">
                <a:latin typeface="Proximus Bold"/>
              </a:rPr>
              <a:t> gaps</a:t>
            </a:r>
          </a:p>
          <a:p>
            <a:r>
              <a:rPr lang="en-US" sz="1100">
                <a:latin typeface="Proximus Bold"/>
              </a:rPr>
              <a:t>NBU: </a:t>
            </a:r>
            <a:r>
              <a:rPr lang="en-US" sz="1100" err="1">
                <a:latin typeface="Proximus Bold"/>
              </a:rPr>
              <a:t>weinig</a:t>
            </a:r>
            <a:r>
              <a:rPr lang="en-US" sz="1100">
                <a:latin typeface="Proximus Bold"/>
              </a:rPr>
              <a:t> impact </a:t>
            </a:r>
            <a:r>
              <a:rPr lang="en-US" sz="1100" err="1">
                <a:latin typeface="Proximus Bold"/>
              </a:rPr>
              <a:t>aantal</a:t>
            </a:r>
            <a:r>
              <a:rPr lang="en-US" sz="1100">
                <a:latin typeface="Proximus Bold"/>
              </a:rPr>
              <a:t> interne </a:t>
            </a:r>
            <a:r>
              <a:rPr lang="en-US" sz="1100" err="1">
                <a:latin typeface="Proximus Bold"/>
              </a:rPr>
              <a:t>medewerkers</a:t>
            </a:r>
            <a:r>
              <a:rPr lang="en-US" sz="1100">
                <a:latin typeface="Proximus Bold"/>
              </a:rPr>
              <a:t>, </a:t>
            </a:r>
            <a:r>
              <a:rPr lang="en-US" sz="1100" err="1">
                <a:latin typeface="Proximus Bold"/>
              </a:rPr>
              <a:t>uitdaging</a:t>
            </a:r>
            <a:r>
              <a:rPr lang="en-US" sz="1100">
                <a:latin typeface="Proximus Bold"/>
              </a:rPr>
              <a:t> </a:t>
            </a:r>
            <a:r>
              <a:rPr lang="en-US" sz="1100" err="1">
                <a:latin typeface="Proximus Bold"/>
              </a:rPr>
              <a:t>externen</a:t>
            </a:r>
            <a:r>
              <a:rPr lang="en-US" sz="1100">
                <a:latin typeface="Proximus Bold"/>
              </a:rPr>
              <a:t> </a:t>
            </a:r>
            <a:r>
              <a:rPr lang="en-US" sz="1100" err="1">
                <a:latin typeface="Proximus Bold"/>
              </a:rPr>
              <a:t>en</a:t>
            </a:r>
            <a:r>
              <a:rPr lang="en-US" sz="1100">
                <a:latin typeface="Proximus Bold"/>
              </a:rPr>
              <a:t> job </a:t>
            </a:r>
            <a:r>
              <a:rPr lang="en-US" sz="1100" err="1">
                <a:latin typeface="Proximus Bold"/>
              </a:rPr>
              <a:t>inhoud</a:t>
            </a:r>
            <a:r>
              <a:rPr lang="en-US" sz="1100">
                <a:latin typeface="Proximus Bold"/>
              </a:rPr>
              <a:t> (</a:t>
            </a:r>
            <a:r>
              <a:rPr lang="en-US" sz="1100" err="1">
                <a:latin typeface="Proximus Bold"/>
              </a:rPr>
              <a:t>activiteit</a:t>
            </a:r>
            <a:r>
              <a:rPr lang="en-US" sz="1100">
                <a:latin typeface="Proximus Bold"/>
              </a:rPr>
              <a:t> </a:t>
            </a:r>
            <a:r>
              <a:rPr lang="en-US" sz="1100" err="1">
                <a:latin typeface="Proximus Bold"/>
              </a:rPr>
              <a:t>en</a:t>
            </a:r>
            <a:r>
              <a:rPr lang="en-US" sz="1100">
                <a:latin typeface="Proximus Bold"/>
              </a:rPr>
              <a:t> </a:t>
            </a:r>
            <a:r>
              <a:rPr lang="en-US" sz="1100" err="1">
                <a:latin typeface="Proximus Bold"/>
              </a:rPr>
              <a:t>technologie</a:t>
            </a:r>
            <a:r>
              <a:rPr lang="en-US" sz="1100">
                <a:latin typeface="Proximus Bold"/>
              </a:rPr>
              <a:t>). 3 </a:t>
            </a:r>
            <a:r>
              <a:rPr lang="en-US" sz="1100" err="1">
                <a:latin typeface="Proximus Bold"/>
              </a:rPr>
              <a:t>jaar</a:t>
            </a:r>
            <a:r>
              <a:rPr lang="en-US" sz="1100">
                <a:latin typeface="Proximus Bold"/>
              </a:rPr>
              <a:t> 60% </a:t>
            </a:r>
            <a:r>
              <a:rPr lang="en-US" sz="1100" kern="1200" err="1">
                <a:solidFill>
                  <a:schemeClr val="tx1"/>
                </a:solidFill>
                <a:latin typeface="Proximus Bold"/>
                <a:ea typeface="+mn-ea"/>
                <a:cs typeface="+mn-cs"/>
              </a:rPr>
              <a:t>bv</a:t>
            </a:r>
            <a:r>
              <a:rPr lang="en-US" sz="1100" kern="1200">
                <a:solidFill>
                  <a:schemeClr val="tx1"/>
                </a:solidFill>
                <a:latin typeface="Proximus Bold"/>
                <a:ea typeface="+mn-ea"/>
                <a:cs typeface="+mn-cs"/>
              </a:rPr>
              <a:t> shift van Fiber build </a:t>
            </a:r>
            <a:r>
              <a:rPr lang="en-US" sz="1100" kern="1200" err="1">
                <a:solidFill>
                  <a:schemeClr val="tx1"/>
                </a:solidFill>
                <a:latin typeface="Proximus Bold"/>
                <a:ea typeface="+mn-ea"/>
                <a:cs typeface="+mn-cs"/>
              </a:rPr>
              <a:t>naar</a:t>
            </a:r>
            <a:r>
              <a:rPr lang="en-US" sz="1100" kern="1200">
                <a:solidFill>
                  <a:schemeClr val="tx1"/>
                </a:solidFill>
                <a:latin typeface="Proximus Bold"/>
                <a:ea typeface="+mn-ea"/>
                <a:cs typeface="+mn-cs"/>
              </a:rPr>
              <a:t> Fiber maintain and repair</a:t>
            </a:r>
            <a:endParaRPr lang="en-BE" sz="1100" kern="1200">
              <a:solidFill>
                <a:schemeClr val="tx1"/>
              </a:solidFill>
              <a:latin typeface="Proximus Bold"/>
              <a:ea typeface="+mn-ea"/>
              <a:cs typeface="+mn-cs"/>
            </a:endParaRPr>
          </a:p>
        </p:txBody>
      </p:sp>
      <p:sp>
        <p:nvSpPr>
          <p:cNvPr id="4" name="Slide Number Placeholder 3">
            <a:extLst>
              <a:ext uri="{FF2B5EF4-FFF2-40B4-BE49-F238E27FC236}">
                <a16:creationId xmlns:a16="http://schemas.microsoft.com/office/drawing/2014/main" id="{F0CCF1C6-09C1-E579-85F5-33487B10D4A6}"/>
              </a:ext>
            </a:extLst>
          </p:cNvPr>
          <p:cNvSpPr>
            <a:spLocks noGrp="1"/>
          </p:cNvSpPr>
          <p:nvPr>
            <p:ph type="sldNum" sz="quarter" idx="5"/>
          </p:nvPr>
        </p:nvSpPr>
        <p:spPr/>
        <p:txBody>
          <a:bodyPr/>
          <a:lstStyle/>
          <a:p>
            <a:fld id="{FA918F22-1231-AB43-96E7-2B8B890DCD5E}" type="slidenum">
              <a:rPr lang="en-US" smtClean="0"/>
              <a:pPr/>
              <a:t>56</a:t>
            </a:fld>
            <a:endParaRPr lang="en-US"/>
          </a:p>
        </p:txBody>
      </p:sp>
    </p:spTree>
    <p:extLst>
      <p:ext uri="{BB962C8B-B14F-4D97-AF65-F5344CB8AC3E}">
        <p14:creationId xmlns:p14="http://schemas.microsoft.com/office/powerpoint/2010/main" val="8285312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C33C4-D6ED-ED1A-7B08-59F3D44E7F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106713-0F60-082A-44B3-26E55F5E0D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61A20E-BDB0-9C15-A730-E86BA1053F5B}"/>
              </a:ext>
            </a:extLst>
          </p:cNvPr>
          <p:cNvSpPr>
            <a:spLocks noGrp="1"/>
          </p:cNvSpPr>
          <p:nvPr>
            <p:ph type="body" idx="1"/>
          </p:nvPr>
        </p:nvSpPr>
        <p:spPr/>
        <p:txBody>
          <a:bodyPr/>
          <a:lstStyle/>
          <a:p>
            <a:r>
              <a:rPr lang="en-BE" sz="1100" b="1" u="sng">
                <a:latin typeface="Proximus Bold"/>
              </a:rPr>
              <a:t>MEREL</a:t>
            </a:r>
          </a:p>
          <a:p>
            <a:r>
              <a:rPr lang="en-US" sz="1100"/>
              <a:t>challenges for the future, use SWP. action plan three main areas: </a:t>
            </a:r>
            <a:endParaRPr lang="en-BE" sz="1100"/>
          </a:p>
          <a:p>
            <a:r>
              <a:rPr lang="en-US" sz="1100" b="1">
                <a:latin typeface="Proximus Bold"/>
              </a:rPr>
              <a:t>Reskilling </a:t>
            </a:r>
            <a:r>
              <a:rPr lang="en-US" sz="1100">
                <a:latin typeface="Proximus Bold"/>
              </a:rPr>
              <a:t>3 major tracks. In 2025, </a:t>
            </a:r>
          </a:p>
          <a:p>
            <a:pPr marL="171450" indent="-171450">
              <a:buFontTx/>
              <a:buChar char="-"/>
            </a:pPr>
            <a:r>
              <a:rPr lang="en-US" sz="1100">
                <a:latin typeface="Proximus Bold"/>
              </a:rPr>
              <a:t>NBU will open reskilling tracks to offer new opportunities to employees. </a:t>
            </a:r>
          </a:p>
          <a:p>
            <a:pPr marL="171450" indent="-171450">
              <a:buFontTx/>
              <a:buChar char="-"/>
            </a:pPr>
            <a:r>
              <a:rPr lang="en-US" sz="1100">
                <a:latin typeface="Proximus Bold"/>
              </a:rPr>
              <a:t>manage our external population (contractor </a:t>
            </a:r>
            <a:r>
              <a:rPr lang="en-US" sz="1100" err="1">
                <a:latin typeface="Proximus Bold"/>
              </a:rPr>
              <a:t>mgmt</a:t>
            </a:r>
            <a:r>
              <a:rPr lang="en-US" sz="1100">
                <a:latin typeface="Proximus Bold"/>
              </a:rPr>
              <a:t>) and decide on the best sourcing mix with </a:t>
            </a:r>
            <a:r>
              <a:rPr lang="en-US" sz="1100" err="1">
                <a:latin typeface="Proximus Bold"/>
              </a:rPr>
              <a:t>eg</a:t>
            </a:r>
            <a:r>
              <a:rPr lang="en-US" sz="1100">
                <a:latin typeface="Proximus Bold"/>
              </a:rPr>
              <a:t> DTI. </a:t>
            </a:r>
            <a:endParaRPr lang="en-BE" sz="1100">
              <a:latin typeface="Proximus Bold"/>
            </a:endParaRPr>
          </a:p>
          <a:p>
            <a:r>
              <a:rPr lang="en-US" sz="1100">
                <a:latin typeface="Proximus Bold"/>
              </a:rPr>
              <a:t>largest block </a:t>
            </a:r>
            <a:r>
              <a:rPr lang="en-US" sz="1100" b="1">
                <a:latin typeface="Proximus Bold"/>
              </a:rPr>
              <a:t>upskilling</a:t>
            </a:r>
            <a:r>
              <a:rPr lang="en-US" sz="1100">
                <a:latin typeface="Proximus Bold"/>
              </a:rPr>
              <a:t>. new projects and topics include changes in technology or way of working +&gt; </a:t>
            </a:r>
            <a:r>
              <a:rPr lang="en-US" sz="1100" err="1">
                <a:latin typeface="Proximus Bold"/>
              </a:rPr>
              <a:t>veel</a:t>
            </a:r>
            <a:r>
              <a:rPr lang="en-US" sz="1100">
                <a:latin typeface="Proximus Bold"/>
              </a:rPr>
              <a:t> </a:t>
            </a:r>
            <a:r>
              <a:rPr lang="en-US" sz="1100" err="1">
                <a:latin typeface="Proximus Bold"/>
              </a:rPr>
              <a:t>initiatieven</a:t>
            </a:r>
            <a:endParaRPr lang="en-US" sz="1100">
              <a:latin typeface="Proximus Bold"/>
            </a:endParaRPr>
          </a:p>
          <a:p>
            <a:pPr marL="171450" indent="-171450">
              <a:buFontTx/>
              <a:buChar char="-"/>
            </a:pPr>
            <a:r>
              <a:rPr lang="en-US" sz="1100" b="1">
                <a:latin typeface="Proximus Bold"/>
              </a:rPr>
              <a:t>T-shaped or multi-skilled profiles</a:t>
            </a:r>
            <a:r>
              <a:rPr lang="en-US" sz="1100">
                <a:latin typeface="Proximus Bold"/>
              </a:rPr>
              <a:t>. </a:t>
            </a:r>
          </a:p>
          <a:p>
            <a:pPr marL="171450" indent="-171450">
              <a:buFontTx/>
              <a:buChar char="-"/>
            </a:pPr>
            <a:r>
              <a:rPr lang="en-US" sz="1100">
                <a:latin typeface="Proximus Bold"/>
              </a:rPr>
              <a:t>Leadership booster &amp; development (</a:t>
            </a:r>
            <a:r>
              <a:rPr lang="en-US" sz="1100" err="1">
                <a:latin typeface="Proximus Bold"/>
              </a:rPr>
              <a:t>cfr</a:t>
            </a:r>
            <a:r>
              <a:rPr lang="en-US" sz="1100">
                <a:latin typeface="Proximus Bold"/>
              </a:rPr>
              <a:t> </a:t>
            </a:r>
            <a:r>
              <a:rPr lang="en-US" sz="1100" err="1">
                <a:latin typeface="Proximus Bold"/>
              </a:rPr>
              <a:t>sessie</a:t>
            </a:r>
            <a:r>
              <a:rPr lang="en-US" sz="1100">
                <a:latin typeface="Proximus Bold"/>
              </a:rPr>
              <a:t> 27 </a:t>
            </a:r>
            <a:r>
              <a:rPr lang="en-US" sz="1100" err="1">
                <a:latin typeface="Proximus Bold"/>
              </a:rPr>
              <a:t>januari</a:t>
            </a:r>
            <a:r>
              <a:rPr lang="en-US" sz="1100">
                <a:latin typeface="Proximus Bold"/>
              </a:rPr>
              <a:t>)</a:t>
            </a:r>
          </a:p>
          <a:p>
            <a:pPr marL="171450" indent="-171450">
              <a:buFontTx/>
              <a:buChar char="-"/>
            </a:pPr>
            <a:r>
              <a:rPr lang="en-US" sz="1100" err="1">
                <a:latin typeface="Proximus Bold"/>
              </a:rPr>
              <a:t>Acties</a:t>
            </a:r>
            <a:r>
              <a:rPr lang="en-US" sz="1100">
                <a:latin typeface="Proximus Bold"/>
              </a:rPr>
              <a:t> </a:t>
            </a:r>
            <a:r>
              <a:rPr lang="en-US" sz="1100" err="1">
                <a:latin typeface="Proximus Bold"/>
              </a:rPr>
              <a:t>gelinkt</a:t>
            </a:r>
            <a:r>
              <a:rPr lang="en-US" sz="1100">
                <a:latin typeface="Proximus Bold"/>
              </a:rPr>
              <a:t> </a:t>
            </a:r>
            <a:r>
              <a:rPr lang="en-US" sz="1100" err="1">
                <a:latin typeface="Proximus Bold"/>
              </a:rPr>
              <a:t>aan</a:t>
            </a:r>
            <a:r>
              <a:rPr lang="en-US" sz="1100">
                <a:latin typeface="Proximus Bold"/>
              </a:rPr>
              <a:t> talent board</a:t>
            </a:r>
          </a:p>
          <a:p>
            <a:pPr marL="171450" indent="-171450">
              <a:buFontTx/>
              <a:buChar char="-"/>
            </a:pPr>
            <a:r>
              <a:rPr lang="en-US" sz="1100">
                <a:latin typeface="Proximus Bold"/>
              </a:rPr>
              <a:t>Learning plan </a:t>
            </a:r>
            <a:r>
              <a:rPr lang="en-US" sz="1100" err="1">
                <a:latin typeface="Proximus Bold"/>
              </a:rPr>
              <a:t>voor</a:t>
            </a:r>
            <a:r>
              <a:rPr lang="en-US" sz="1100">
                <a:latin typeface="Proximus Bold"/>
              </a:rPr>
              <a:t> 2025 (details </a:t>
            </a:r>
            <a:r>
              <a:rPr lang="en-US" sz="1100" err="1">
                <a:latin typeface="Proximus Bold"/>
              </a:rPr>
              <a:t>komen</a:t>
            </a:r>
            <a:r>
              <a:rPr lang="en-US" sz="1100">
                <a:latin typeface="Proximus Bold"/>
              </a:rPr>
              <a:t> </a:t>
            </a:r>
            <a:r>
              <a:rPr lang="en-US" sz="1100" err="1">
                <a:latin typeface="Proximus Bold"/>
              </a:rPr>
              <a:t>nog</a:t>
            </a:r>
            <a:r>
              <a:rPr lang="en-US" sz="1100">
                <a:latin typeface="Proximus Bold"/>
              </a:rPr>
              <a:t>) – </a:t>
            </a:r>
            <a:r>
              <a:rPr lang="en-US" sz="1100" err="1">
                <a:latin typeface="Proximus Bold"/>
              </a:rPr>
              <a:t>meer</a:t>
            </a:r>
            <a:r>
              <a:rPr lang="en-US" sz="1100">
                <a:latin typeface="Proximus Bold"/>
              </a:rPr>
              <a:t> dan 50 </a:t>
            </a:r>
            <a:r>
              <a:rPr lang="en-US" sz="1100" err="1">
                <a:latin typeface="Proximus Bold"/>
              </a:rPr>
              <a:t>initiatieven</a:t>
            </a:r>
            <a:endParaRPr lang="en-US" sz="1100">
              <a:latin typeface="Proximus Bold"/>
            </a:endParaRPr>
          </a:p>
          <a:p>
            <a:pPr marL="171450" indent="-171450">
              <a:buFontTx/>
              <a:buChar char="-"/>
            </a:pPr>
            <a:r>
              <a:rPr lang="en-US" sz="1100" err="1">
                <a:latin typeface="Proximus Bold"/>
              </a:rPr>
              <a:t>Specifiek</a:t>
            </a:r>
            <a:r>
              <a:rPr lang="en-US" sz="1100">
                <a:latin typeface="Proximus Bold"/>
              </a:rPr>
              <a:t> DIV: </a:t>
            </a:r>
            <a:r>
              <a:rPr lang="en-US" sz="1100" err="1">
                <a:latin typeface="Proximus Bold"/>
              </a:rPr>
              <a:t>eg</a:t>
            </a:r>
            <a:r>
              <a:rPr lang="en-US" sz="1100">
                <a:latin typeface="Proximus Bold"/>
              </a:rPr>
              <a:t> NEO growth missions</a:t>
            </a:r>
            <a:endParaRPr lang="en-BE" sz="1100">
              <a:latin typeface="Proximus Bold"/>
            </a:endParaRPr>
          </a:p>
          <a:p>
            <a:r>
              <a:rPr lang="en-US" sz="1100">
                <a:latin typeface="Proximus Bold"/>
              </a:rPr>
              <a:t>last but not least, </a:t>
            </a:r>
            <a:r>
              <a:rPr lang="en-US" sz="1100" b="1">
                <a:latin typeface="Proximus Bold"/>
              </a:rPr>
              <a:t>mindset shift and change</a:t>
            </a:r>
            <a:r>
              <a:rPr lang="en-US" sz="1100">
                <a:latin typeface="Proximus Bold"/>
              </a:rPr>
              <a:t>. </a:t>
            </a:r>
          </a:p>
          <a:p>
            <a:pPr marL="171450" indent="-171450">
              <a:buFont typeface="Arial" panose="020B0604020202020204" pitchFamily="34" charset="0"/>
              <a:buChar char="•"/>
            </a:pPr>
            <a:r>
              <a:rPr lang="en-US" sz="1100">
                <a:latin typeface="Proximus Bold"/>
              </a:rPr>
              <a:t>Cross dept/BU</a:t>
            </a:r>
          </a:p>
          <a:p>
            <a:pPr marL="171450" indent="-171450">
              <a:buFont typeface="Arial" panose="020B0604020202020204" pitchFamily="34" charset="0"/>
              <a:buChar char="•"/>
            </a:pPr>
            <a:r>
              <a:rPr lang="en-US" sz="1100" b="1">
                <a:latin typeface="Proximus Bold"/>
              </a:rPr>
              <a:t>lifelong learning &amp; continuous change</a:t>
            </a:r>
            <a:r>
              <a:rPr lang="en-US" sz="1100">
                <a:latin typeface="Proximus Bold"/>
              </a:rPr>
              <a:t>. </a:t>
            </a:r>
          </a:p>
          <a:p>
            <a:pPr marL="171450" indent="-171450">
              <a:buFont typeface="Arial" panose="020B0604020202020204" pitchFamily="34" charset="0"/>
              <a:buChar char="•"/>
            </a:pPr>
            <a:r>
              <a:rPr lang="en-US" sz="1100">
                <a:latin typeface="Proximus Bold"/>
              </a:rPr>
              <a:t>not learning or evolving will not be an option, and flexibility is essential. </a:t>
            </a:r>
          </a:p>
          <a:p>
            <a:pPr marL="171450" indent="-171450">
              <a:buFont typeface="Arial" panose="020B0604020202020204" pitchFamily="34" charset="0"/>
              <a:buChar char="•"/>
            </a:pPr>
            <a:r>
              <a:rPr lang="en-US" sz="1100">
                <a:latin typeface="Proximus Bold"/>
              </a:rPr>
              <a:t>In return </a:t>
            </a:r>
            <a:r>
              <a:rPr lang="en-US" sz="1100" b="1">
                <a:latin typeface="Proximus Bold"/>
              </a:rPr>
              <a:t>opportunities</a:t>
            </a:r>
            <a:r>
              <a:rPr lang="en-US" sz="1100">
                <a:latin typeface="Proximus Bold"/>
              </a:rPr>
              <a:t>. </a:t>
            </a:r>
            <a:endParaRPr lang="en-BE" sz="1100">
              <a:latin typeface="Proximus Bold"/>
            </a:endParaRPr>
          </a:p>
          <a:p>
            <a:r>
              <a:rPr lang="en-US" sz="1100">
                <a:latin typeface="Proximus Bold"/>
              </a:rPr>
              <a:t>We’ll be focusing on lifelong learning, offering new opportunities for growth, and ensuring that our employees are equipped with the skills needed</a:t>
            </a:r>
            <a:endParaRPr lang="en-BE" sz="1100">
              <a:latin typeface="Proximus Bold"/>
            </a:endParaRPr>
          </a:p>
          <a:p>
            <a:endParaRPr lang="en-BE" sz="500"/>
          </a:p>
        </p:txBody>
      </p:sp>
      <p:sp>
        <p:nvSpPr>
          <p:cNvPr id="4" name="Slide Number Placeholder 3">
            <a:extLst>
              <a:ext uri="{FF2B5EF4-FFF2-40B4-BE49-F238E27FC236}">
                <a16:creationId xmlns:a16="http://schemas.microsoft.com/office/drawing/2014/main" id="{2B795165-C593-6539-D44F-5929B833B638}"/>
              </a:ext>
            </a:extLst>
          </p:cNvPr>
          <p:cNvSpPr>
            <a:spLocks noGrp="1"/>
          </p:cNvSpPr>
          <p:nvPr>
            <p:ph type="sldNum" sz="quarter" idx="5"/>
          </p:nvPr>
        </p:nvSpPr>
        <p:spPr/>
        <p:txBody>
          <a:bodyPr/>
          <a:lstStyle/>
          <a:p>
            <a:fld id="{FA918F22-1231-AB43-96E7-2B8B890DCD5E}" type="slidenum">
              <a:rPr lang="en-US" smtClean="0"/>
              <a:pPr/>
              <a:t>57</a:t>
            </a:fld>
            <a:endParaRPr lang="en-US"/>
          </a:p>
        </p:txBody>
      </p:sp>
    </p:spTree>
    <p:extLst>
      <p:ext uri="{BB962C8B-B14F-4D97-AF65-F5344CB8AC3E}">
        <p14:creationId xmlns:p14="http://schemas.microsoft.com/office/powerpoint/2010/main" val="23286095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7291C-A425-9677-9C67-87AF4B9261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525CF6-D912-474B-C04A-E0C4267063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968FED-0C04-CB51-73E2-9020ED28CEC9}"/>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200" dirty="0"/>
              <a:t>Video one minute &gt; Geert </a:t>
            </a:r>
            <a:r>
              <a:rPr lang="en-US" sz="1200" dirty="0" err="1"/>
              <a:t>Robberechts</a:t>
            </a:r>
            <a:endParaRPr lang="en-US" sz="1200" dirty="0"/>
          </a:p>
          <a:p>
            <a:endParaRPr lang="en-US" sz="1200" dirty="0"/>
          </a:p>
          <a:p>
            <a:endParaRPr lang="fr-BE" dirty="0"/>
          </a:p>
          <a:p>
            <a:endParaRPr lang="en-BE" dirty="0"/>
          </a:p>
        </p:txBody>
      </p:sp>
      <p:sp>
        <p:nvSpPr>
          <p:cNvPr id="4" name="Slide Number Placeholder 3">
            <a:extLst>
              <a:ext uri="{FF2B5EF4-FFF2-40B4-BE49-F238E27FC236}">
                <a16:creationId xmlns:a16="http://schemas.microsoft.com/office/drawing/2014/main" id="{C3F595E1-E38C-514D-2F5E-1EC6CB90E18A}"/>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249251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9C6BB-5E57-A921-F3AF-DCDFC4FFAE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AA14D-BA75-5164-E862-44151A7AD7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40AE9-196A-9364-8E79-F8DBCC18E6CC}"/>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0">
              <a:latin typeface="Proximus Bold"/>
            </a:endParaRPr>
          </a:p>
          <a:p>
            <a:r>
              <a:rPr lang="en-US" sz="1100" b="1" u="sng">
                <a:latin typeface="Proximus Bold"/>
              </a:rPr>
              <a:t>MAGALI </a:t>
            </a:r>
            <a:r>
              <a:rPr lang="en-US" sz="1100" b="0">
                <a:latin typeface="Proximus Bold"/>
              </a:rPr>
              <a:t>: </a:t>
            </a:r>
            <a:r>
              <a:rPr lang="en-US" sz="1100" err="1">
                <a:solidFill>
                  <a:srgbClr val="000000"/>
                </a:solidFill>
                <a:latin typeface="Proximus Bold"/>
              </a:rPr>
              <a:t>Féliciations</a:t>
            </a:r>
            <a:r>
              <a:rPr lang="en-US" sz="1100">
                <a:solidFill>
                  <a:srgbClr val="000000"/>
                </a:solidFill>
                <a:latin typeface="Proximus Bold"/>
              </a:rPr>
              <a:t> </a:t>
            </a:r>
            <a:r>
              <a:rPr lang="en-US" sz="1100">
                <a:solidFill>
                  <a:srgbClr val="000000"/>
                </a:solidFill>
                <a:latin typeface="Proximus Bold"/>
                <a:cs typeface="Segoe UI"/>
              </a:rPr>
              <a:t>à </a:t>
            </a:r>
            <a:r>
              <a:rPr lang="en-US" sz="1100" err="1">
                <a:solidFill>
                  <a:srgbClr val="000000"/>
                </a:solidFill>
                <a:latin typeface="Proximus Bold"/>
                <a:cs typeface="Segoe UI"/>
              </a:rPr>
              <a:t>notre</a:t>
            </a:r>
            <a:r>
              <a:rPr lang="en-US" sz="1100">
                <a:solidFill>
                  <a:srgbClr val="000000"/>
                </a:solidFill>
                <a:latin typeface="Proximus Bold"/>
                <a:cs typeface="Segoe UI"/>
              </a:rPr>
              <a:t> </a:t>
            </a:r>
            <a:r>
              <a:rPr lang="en-US" sz="1100" err="1">
                <a:solidFill>
                  <a:srgbClr val="000000"/>
                </a:solidFill>
                <a:latin typeface="Proximus Bold"/>
                <a:cs typeface="Segoe UI"/>
              </a:rPr>
              <a:t>troisième</a:t>
            </a:r>
            <a:r>
              <a:rPr lang="en-US" sz="1100">
                <a:solidFill>
                  <a:srgbClr val="000000"/>
                </a:solidFill>
                <a:latin typeface="Proximus Bold"/>
                <a:cs typeface="Segoe UI"/>
              </a:rPr>
              <a:t> Geert du jour pour ton </a:t>
            </a:r>
            <a:r>
              <a:rPr lang="en-US" sz="1100" err="1">
                <a:solidFill>
                  <a:srgbClr val="000000"/>
                </a:solidFill>
                <a:latin typeface="Proximus Bold"/>
                <a:cs typeface="Segoe UI"/>
              </a:rPr>
              <a:t>parcours</a:t>
            </a:r>
            <a:r>
              <a:rPr lang="en-US" sz="1100">
                <a:solidFill>
                  <a:srgbClr val="000000"/>
                </a:solidFill>
                <a:latin typeface="Proximus Bold"/>
                <a:cs typeface="Segoe UI"/>
              </a:rPr>
              <a:t>. Nous </a:t>
            </a:r>
            <a:r>
              <a:rPr lang="en-US" sz="1100" err="1">
                <a:solidFill>
                  <a:srgbClr val="000000"/>
                </a:solidFill>
                <a:latin typeface="Proximus Bold"/>
                <a:cs typeface="Segoe UI"/>
              </a:rPr>
              <a:t>sommes</a:t>
            </a:r>
            <a:r>
              <a:rPr lang="en-US" sz="1100">
                <a:solidFill>
                  <a:srgbClr val="000000"/>
                </a:solidFill>
                <a:latin typeface="Proximus Bold"/>
                <a:cs typeface="Segoe UI"/>
              </a:rPr>
              <a:t> très </a:t>
            </a:r>
            <a:r>
              <a:rPr lang="en-US" sz="1100" err="1">
                <a:solidFill>
                  <a:srgbClr val="000000"/>
                </a:solidFill>
                <a:latin typeface="Proximus Bold"/>
                <a:cs typeface="Segoe UI"/>
              </a:rPr>
              <a:t>fiers</a:t>
            </a:r>
            <a:r>
              <a:rPr lang="en-US" sz="1100">
                <a:solidFill>
                  <a:srgbClr val="000000"/>
                </a:solidFill>
                <a:latin typeface="Proximus Bold"/>
                <a:cs typeface="Segoe UI"/>
              </a:rPr>
              <a:t> </a:t>
            </a:r>
            <a:r>
              <a:rPr lang="en-US" sz="1100" err="1">
                <a:solidFill>
                  <a:srgbClr val="000000"/>
                </a:solidFill>
                <a:latin typeface="Proximus Bold"/>
                <a:cs typeface="Segoe UI"/>
              </a:rPr>
              <a:t>d'avoir</a:t>
            </a:r>
            <a:r>
              <a:rPr lang="en-US" sz="1100">
                <a:solidFill>
                  <a:srgbClr val="000000"/>
                </a:solidFill>
                <a:latin typeface="Proximus Bold"/>
                <a:cs typeface="Segoe UI"/>
              </a:rPr>
              <a:t> </a:t>
            </a:r>
            <a:r>
              <a:rPr lang="en-US" sz="1100" err="1">
                <a:solidFill>
                  <a:srgbClr val="000000"/>
                </a:solidFill>
                <a:latin typeface="Proximus Bold"/>
                <a:cs typeface="Segoe UI"/>
              </a:rPr>
              <a:t>notre</a:t>
            </a:r>
            <a:r>
              <a:rPr lang="en-US" sz="1100">
                <a:solidFill>
                  <a:srgbClr val="000000"/>
                </a:solidFill>
                <a:latin typeface="Proximus Bold"/>
                <a:cs typeface="Segoe UI"/>
              </a:rPr>
              <a:t> propre Steve Jobs chez NBU!</a:t>
            </a:r>
          </a:p>
          <a:p>
            <a:r>
              <a:rPr lang="en-US" sz="1100" b="0" i="0">
                <a:solidFill>
                  <a:srgbClr val="242424"/>
                </a:solidFill>
                <a:effectLst/>
                <a:latin typeface="Segoe UI"/>
                <a:cs typeface="Segoe UI"/>
              </a:rPr>
              <a:t>Merci </a:t>
            </a:r>
            <a:r>
              <a:rPr lang="en-US" sz="1100" err="1">
                <a:solidFill>
                  <a:srgbClr val="242424"/>
                </a:solidFill>
                <a:latin typeface="Segoe UI"/>
                <a:cs typeface="Segoe UI"/>
              </a:rPr>
              <a:t>aussi</a:t>
            </a:r>
            <a:r>
              <a:rPr lang="en-US" sz="1100">
                <a:solidFill>
                  <a:srgbClr val="242424"/>
                </a:solidFill>
                <a:latin typeface="Segoe UI"/>
                <a:cs typeface="Segoe UI"/>
              </a:rPr>
              <a:t> Merel</a:t>
            </a:r>
            <a:r>
              <a:rPr lang="en-US" sz="1100" b="0" i="0">
                <a:solidFill>
                  <a:srgbClr val="242424"/>
                </a:solidFill>
                <a:effectLst/>
                <a:latin typeface="Segoe UI"/>
                <a:cs typeface="Segoe UI"/>
              </a:rPr>
              <a:t> ! </a:t>
            </a:r>
            <a:r>
              <a:rPr lang="en-US" sz="1100" err="1">
                <a:solidFill>
                  <a:srgbClr val="242424"/>
                </a:solidFill>
                <a:latin typeface="Segoe UI"/>
                <a:cs typeface="Segoe UI"/>
              </a:rPr>
              <a:t>C'est</a:t>
            </a:r>
            <a:r>
              <a:rPr lang="en-US" sz="1100">
                <a:solidFill>
                  <a:srgbClr val="242424"/>
                </a:solidFill>
                <a:latin typeface="Segoe UI"/>
                <a:cs typeface="Segoe UI"/>
              </a:rPr>
              <a:t> </a:t>
            </a:r>
            <a:r>
              <a:rPr lang="en-US" sz="1100" err="1">
                <a:solidFill>
                  <a:srgbClr val="242424"/>
                </a:solidFill>
                <a:latin typeface="Segoe UI"/>
                <a:cs typeface="Segoe UI"/>
              </a:rPr>
              <a:t>motivant</a:t>
            </a:r>
            <a:r>
              <a:rPr lang="en-US" sz="1100">
                <a:solidFill>
                  <a:srgbClr val="242424"/>
                </a:solidFill>
                <a:latin typeface="Segoe UI"/>
                <a:cs typeface="Segoe UI"/>
              </a:rPr>
              <a:t> de savoir que Proximus </a:t>
            </a:r>
            <a:r>
              <a:rPr lang="en-US" sz="1100" err="1">
                <a:solidFill>
                  <a:srgbClr val="242424"/>
                </a:solidFill>
                <a:latin typeface="Segoe UI"/>
                <a:cs typeface="Segoe UI"/>
              </a:rPr>
              <a:t>investit</a:t>
            </a:r>
            <a:r>
              <a:rPr lang="en-US" sz="1100">
                <a:solidFill>
                  <a:srgbClr val="242424"/>
                </a:solidFill>
                <a:latin typeface="Segoe UI"/>
                <a:cs typeface="Segoe UI"/>
              </a:rPr>
              <a:t> pour que nous </a:t>
            </a:r>
            <a:r>
              <a:rPr lang="en-US" sz="1100" err="1">
                <a:solidFill>
                  <a:srgbClr val="242424"/>
                </a:solidFill>
                <a:latin typeface="Segoe UI"/>
                <a:cs typeface="Segoe UI"/>
              </a:rPr>
              <a:t>puissions</a:t>
            </a:r>
            <a:r>
              <a:rPr lang="en-US" sz="1100">
                <a:solidFill>
                  <a:srgbClr val="242424"/>
                </a:solidFill>
                <a:latin typeface="Segoe UI"/>
                <a:cs typeface="Segoe UI"/>
              </a:rPr>
              <a:t> continuer à nous </a:t>
            </a:r>
            <a:r>
              <a:rPr lang="en-US" sz="1100" err="1">
                <a:solidFill>
                  <a:srgbClr val="242424"/>
                </a:solidFill>
                <a:latin typeface="Segoe UI"/>
                <a:cs typeface="Segoe UI"/>
              </a:rPr>
              <a:t>développer</a:t>
            </a:r>
            <a:r>
              <a:rPr lang="en-US" sz="1100">
                <a:solidFill>
                  <a:srgbClr val="242424"/>
                </a:solidFill>
                <a:latin typeface="Segoe UI"/>
                <a:cs typeface="Segoe UI"/>
              </a:rPr>
              <a:t> et </a:t>
            </a:r>
            <a:r>
              <a:rPr lang="en-US" sz="1100" err="1">
                <a:solidFill>
                  <a:srgbClr val="242424"/>
                </a:solidFill>
                <a:latin typeface="Segoe UI"/>
                <a:cs typeface="Segoe UI"/>
              </a:rPr>
              <a:t>rester</a:t>
            </a:r>
            <a:r>
              <a:rPr lang="en-US" sz="1100">
                <a:solidFill>
                  <a:srgbClr val="242424"/>
                </a:solidFill>
                <a:latin typeface="Segoe UI"/>
                <a:cs typeface="Segoe UI"/>
              </a:rPr>
              <a:t> </a:t>
            </a:r>
            <a:r>
              <a:rPr lang="en-US" sz="1100" err="1">
                <a:solidFill>
                  <a:srgbClr val="242424"/>
                </a:solidFill>
                <a:latin typeface="Segoe UI"/>
                <a:cs typeface="Segoe UI"/>
              </a:rPr>
              <a:t>pertinents</a:t>
            </a:r>
            <a:r>
              <a:rPr lang="en-US" sz="1100">
                <a:solidFill>
                  <a:srgbClr val="242424"/>
                </a:solidFill>
                <a:latin typeface="Segoe UI"/>
                <a:cs typeface="Segoe UI"/>
              </a:rPr>
              <a:t> dans un monde qui change </a:t>
            </a:r>
            <a:r>
              <a:rPr lang="en-US" sz="1100" err="1">
                <a:solidFill>
                  <a:srgbClr val="242424"/>
                </a:solidFill>
                <a:latin typeface="Segoe UI"/>
                <a:cs typeface="Segoe UI"/>
              </a:rPr>
              <a:t>toujours</a:t>
            </a:r>
            <a:r>
              <a:rPr lang="en-US" sz="1100">
                <a:solidFill>
                  <a:srgbClr val="242424"/>
                </a:solidFill>
                <a:latin typeface="Segoe UI"/>
                <a:cs typeface="Segoe UI"/>
              </a:rPr>
              <a:t> plus </a:t>
            </a:r>
            <a:r>
              <a:rPr lang="en-US" sz="1100" err="1">
                <a:solidFill>
                  <a:srgbClr val="242424"/>
                </a:solidFill>
                <a:latin typeface="Segoe UI"/>
                <a:cs typeface="Segoe UI"/>
              </a:rPr>
              <a:t>vite</a:t>
            </a:r>
            <a:r>
              <a:rPr lang="en-US" sz="1100">
                <a:solidFill>
                  <a:srgbClr val="242424"/>
                </a:solidFill>
                <a:latin typeface="Segoe UI"/>
                <a:cs typeface="Segoe UI"/>
              </a:rPr>
              <a:t>. Il ne </a:t>
            </a:r>
            <a:r>
              <a:rPr lang="en-US" sz="1100" err="1">
                <a:solidFill>
                  <a:srgbClr val="242424"/>
                </a:solidFill>
                <a:latin typeface="Segoe UI"/>
                <a:cs typeface="Segoe UI"/>
              </a:rPr>
              <a:t>tient</a:t>
            </a:r>
            <a:r>
              <a:rPr lang="en-US" sz="1100">
                <a:solidFill>
                  <a:srgbClr val="242424"/>
                </a:solidFill>
                <a:latin typeface="Segoe UI"/>
                <a:cs typeface="Segoe UI"/>
              </a:rPr>
              <a:t> plus </a:t>
            </a:r>
            <a:r>
              <a:rPr lang="en-US" sz="1100" err="1">
                <a:solidFill>
                  <a:srgbClr val="242424"/>
                </a:solidFill>
                <a:latin typeface="Segoe UI"/>
                <a:cs typeface="Segoe UI"/>
              </a:rPr>
              <a:t>qu'à</a:t>
            </a:r>
            <a:r>
              <a:rPr lang="en-US" sz="1100">
                <a:solidFill>
                  <a:srgbClr val="242424"/>
                </a:solidFill>
                <a:latin typeface="Segoe UI"/>
                <a:cs typeface="Segoe UI"/>
              </a:rPr>
              <a:t> nous de prendre </a:t>
            </a:r>
            <a:r>
              <a:rPr lang="en-US" sz="1100" err="1">
                <a:solidFill>
                  <a:srgbClr val="242424"/>
                </a:solidFill>
                <a:latin typeface="Segoe UI"/>
                <a:cs typeface="Segoe UI"/>
              </a:rPr>
              <a:t>notre</a:t>
            </a:r>
            <a:r>
              <a:rPr lang="en-US" sz="1100">
                <a:solidFill>
                  <a:srgbClr val="242424"/>
                </a:solidFill>
                <a:latin typeface="Segoe UI"/>
                <a:cs typeface="Segoe UI"/>
              </a:rPr>
              <a:t> </a:t>
            </a:r>
            <a:r>
              <a:rPr lang="en-US" sz="1100" err="1">
                <a:solidFill>
                  <a:srgbClr val="242424"/>
                </a:solidFill>
                <a:latin typeface="Segoe UI"/>
                <a:cs typeface="Segoe UI"/>
              </a:rPr>
              <a:t>carrière</a:t>
            </a:r>
            <a:r>
              <a:rPr lang="en-US" sz="1100">
                <a:solidFill>
                  <a:srgbClr val="242424"/>
                </a:solidFill>
                <a:latin typeface="Segoe UI"/>
                <a:cs typeface="Segoe UI"/>
              </a:rPr>
              <a:t> </a:t>
            </a:r>
            <a:r>
              <a:rPr lang="en-US" sz="1100" err="1">
                <a:solidFill>
                  <a:srgbClr val="242424"/>
                </a:solidFill>
                <a:latin typeface="Segoe UI"/>
                <a:cs typeface="Segoe UI"/>
              </a:rPr>
              <a:t>en</a:t>
            </a:r>
            <a:r>
              <a:rPr lang="en-US" sz="1100">
                <a:solidFill>
                  <a:srgbClr val="242424"/>
                </a:solidFill>
                <a:latin typeface="Segoe UI"/>
                <a:cs typeface="Segoe UI"/>
              </a:rPr>
              <a:t> main. </a:t>
            </a:r>
            <a:endParaRPr lang="en-US" sz="1100">
              <a:solidFill>
                <a:srgbClr val="000000"/>
              </a:solidFill>
              <a:cs typeface="Segoe UI"/>
            </a:endParaRPr>
          </a:p>
          <a:p>
            <a:r>
              <a:rPr lang="en-US" sz="1100">
                <a:solidFill>
                  <a:srgbClr val="242424"/>
                </a:solidFill>
                <a:latin typeface="Segoe UI"/>
                <a:cs typeface="Segoe UI"/>
              </a:rPr>
              <a:t>Voilà</a:t>
            </a:r>
            <a:r>
              <a:rPr lang="en-US" sz="1100" b="0" i="0">
                <a:solidFill>
                  <a:srgbClr val="242424"/>
                </a:solidFill>
                <a:effectLst/>
                <a:latin typeface="Segoe UI"/>
                <a:cs typeface="Segoe UI"/>
              </a:rPr>
              <a:t>, nous </a:t>
            </a:r>
            <a:r>
              <a:rPr lang="en-US" sz="1100" b="0" i="0" err="1">
                <a:solidFill>
                  <a:srgbClr val="242424"/>
                </a:solidFill>
                <a:effectLst/>
                <a:latin typeface="Segoe UI"/>
                <a:cs typeface="Segoe UI"/>
              </a:rPr>
              <a:t>vous</a:t>
            </a:r>
            <a:r>
              <a:rPr lang="en-US" sz="1100" b="0" i="0">
                <a:solidFill>
                  <a:srgbClr val="242424"/>
                </a:solidFill>
                <a:effectLst/>
                <a:latin typeface="Segoe UI"/>
                <a:cs typeface="Segoe UI"/>
              </a:rPr>
              <a:t> </a:t>
            </a:r>
            <a:r>
              <a:rPr lang="en-US" sz="1100" b="0" i="0" err="1">
                <a:solidFill>
                  <a:srgbClr val="242424"/>
                </a:solidFill>
                <a:effectLst/>
                <a:latin typeface="Segoe UI"/>
                <a:cs typeface="Segoe UI"/>
              </a:rPr>
              <a:t>avons</a:t>
            </a:r>
            <a:r>
              <a:rPr lang="en-US" sz="1100" b="0" i="0">
                <a:solidFill>
                  <a:srgbClr val="242424"/>
                </a:solidFill>
                <a:effectLst/>
                <a:latin typeface="Segoe UI"/>
                <a:cs typeface="Segoe UI"/>
              </a:rPr>
              <a:t> </a:t>
            </a:r>
            <a:r>
              <a:rPr lang="en-US" sz="1100" b="0" i="0" err="1">
                <a:solidFill>
                  <a:srgbClr val="242424"/>
                </a:solidFill>
                <a:effectLst/>
                <a:latin typeface="Segoe UI"/>
                <a:cs typeface="Segoe UI"/>
              </a:rPr>
              <a:t>présenté</a:t>
            </a:r>
            <a:r>
              <a:rPr lang="en-US" sz="1100" b="0" i="0">
                <a:solidFill>
                  <a:srgbClr val="242424"/>
                </a:solidFill>
                <a:effectLst/>
                <a:latin typeface="Segoe UI"/>
                <a:cs typeface="Segoe UI"/>
              </a:rPr>
              <a:t> les </a:t>
            </a:r>
            <a:r>
              <a:rPr lang="en-US" sz="1100">
                <a:solidFill>
                  <a:srgbClr val="242424"/>
                </a:solidFill>
                <a:latin typeface="Segoe UI"/>
                <a:cs typeface="Segoe UI"/>
              </a:rPr>
              <a:t>4 </a:t>
            </a:r>
            <a:r>
              <a:rPr lang="en-US" sz="1100" err="1">
                <a:solidFill>
                  <a:srgbClr val="242424"/>
                </a:solidFill>
                <a:latin typeface="Segoe UI"/>
                <a:cs typeface="Segoe UI"/>
              </a:rPr>
              <a:t>pilliers</a:t>
            </a:r>
            <a:r>
              <a:rPr lang="en-US" sz="1100">
                <a:solidFill>
                  <a:srgbClr val="242424"/>
                </a:solidFill>
                <a:latin typeface="Segoe UI"/>
                <a:cs typeface="Segoe UI"/>
              </a:rPr>
              <a:t> de </a:t>
            </a:r>
            <a:r>
              <a:rPr lang="en-US" sz="1100" err="1">
                <a:solidFill>
                  <a:srgbClr val="242424"/>
                </a:solidFill>
                <a:latin typeface="Segoe UI"/>
                <a:cs typeface="Segoe UI"/>
              </a:rPr>
              <a:t>notre</a:t>
            </a:r>
            <a:r>
              <a:rPr lang="en-US" sz="1100">
                <a:solidFill>
                  <a:srgbClr val="242424"/>
                </a:solidFill>
                <a:latin typeface="Segoe UI"/>
                <a:cs typeface="Segoe UI"/>
              </a:rPr>
              <a:t> </a:t>
            </a:r>
            <a:r>
              <a:rPr lang="en-US" sz="1100" b="0" i="0">
                <a:solidFill>
                  <a:srgbClr val="242424"/>
                </a:solidFill>
                <a:effectLst/>
                <a:latin typeface="Segoe UI"/>
                <a:cs typeface="Segoe UI"/>
              </a:rPr>
              <a:t>stratégie NBU4.0. </a:t>
            </a:r>
            <a:endParaRPr lang="en-US" sz="1100"/>
          </a:p>
          <a:p>
            <a:r>
              <a:rPr lang="en-US" sz="1100" b="0" i="0">
                <a:solidFill>
                  <a:srgbClr val="242424"/>
                </a:solidFill>
                <a:effectLst/>
                <a:latin typeface="Segoe UI"/>
                <a:cs typeface="Segoe UI"/>
              </a:rPr>
              <a:t>Avant de passer au Q&amp;A, </a:t>
            </a:r>
            <a:r>
              <a:rPr lang="en-US" sz="1100" b="0" i="0" err="1">
                <a:solidFill>
                  <a:srgbClr val="242424"/>
                </a:solidFill>
                <a:effectLst/>
                <a:latin typeface="Segoe UI"/>
                <a:cs typeface="Segoe UI"/>
              </a:rPr>
              <a:t>j’invite</a:t>
            </a:r>
            <a:r>
              <a:rPr lang="en-US" sz="1100" b="0" i="0">
                <a:solidFill>
                  <a:srgbClr val="242424"/>
                </a:solidFill>
                <a:effectLst/>
                <a:latin typeface="Segoe UI"/>
                <a:cs typeface="Segoe UI"/>
              </a:rPr>
              <a:t> encore Geert à nous </a:t>
            </a:r>
            <a:r>
              <a:rPr lang="en-US" sz="1100" b="0" i="0" err="1">
                <a:solidFill>
                  <a:srgbClr val="242424"/>
                </a:solidFill>
                <a:effectLst/>
                <a:latin typeface="Segoe UI"/>
                <a:cs typeface="Segoe UI"/>
              </a:rPr>
              <a:t>rejoindre</a:t>
            </a:r>
            <a:r>
              <a:rPr lang="en-US" sz="1100">
                <a:solidFill>
                  <a:srgbClr val="242424"/>
                </a:solidFill>
                <a:latin typeface="Segoe UI"/>
                <a:cs typeface="Segoe UI"/>
              </a:rPr>
              <a:t> pour </a:t>
            </a:r>
            <a:r>
              <a:rPr lang="en-US" sz="1100" err="1">
                <a:solidFill>
                  <a:srgbClr val="242424"/>
                </a:solidFill>
                <a:latin typeface="Segoe UI"/>
                <a:cs typeface="Segoe UI"/>
              </a:rPr>
              <a:t>conclure</a:t>
            </a:r>
            <a:r>
              <a:rPr lang="en-US" sz="1100">
                <a:solidFill>
                  <a:srgbClr val="242424"/>
                </a:solidFill>
                <a:latin typeface="Segoe UI"/>
                <a:cs typeface="Segoe UI"/>
              </a:rPr>
              <a:t> </a:t>
            </a:r>
            <a:r>
              <a:rPr lang="en-US" sz="1100" err="1">
                <a:solidFill>
                  <a:srgbClr val="242424"/>
                </a:solidFill>
                <a:latin typeface="Segoe UI"/>
                <a:cs typeface="Segoe UI"/>
              </a:rPr>
              <a:t>notre</a:t>
            </a:r>
            <a:r>
              <a:rPr lang="en-US" sz="1100">
                <a:solidFill>
                  <a:srgbClr val="242424"/>
                </a:solidFill>
                <a:latin typeface="Segoe UI"/>
                <a:cs typeface="Segoe UI"/>
              </a:rPr>
              <a:t> cascade.</a:t>
            </a:r>
            <a:endParaRPr lang="en-US" sz="1100" b="0">
              <a:solidFill>
                <a:srgbClr val="242424"/>
              </a:solidFill>
              <a:latin typeface="Segoe UI"/>
              <a:cs typeface="Segoe UI"/>
            </a:endParaRPr>
          </a:p>
          <a:p>
            <a:endParaRPr lang="en-GB" sz="500">
              <a:latin typeface="Proximus Bold"/>
            </a:endParaRPr>
          </a:p>
          <a:p>
            <a:endParaRPr lang="en-GB" sz="500">
              <a:latin typeface="Proximus Bold"/>
            </a:endParaRPr>
          </a:p>
        </p:txBody>
      </p:sp>
      <p:sp>
        <p:nvSpPr>
          <p:cNvPr id="4" name="Slide Number Placeholder 3">
            <a:extLst>
              <a:ext uri="{FF2B5EF4-FFF2-40B4-BE49-F238E27FC236}">
                <a16:creationId xmlns:a16="http://schemas.microsoft.com/office/drawing/2014/main" id="{659A9E8A-69CC-486F-6127-AA955A18FC05}"/>
              </a:ext>
            </a:extLst>
          </p:cNvPr>
          <p:cNvSpPr>
            <a:spLocks noGrp="1"/>
          </p:cNvSpPr>
          <p:nvPr>
            <p:ph type="sldNum" sz="quarter" idx="5"/>
          </p:nvPr>
        </p:nvSpPr>
        <p:spPr/>
        <p:txBody>
          <a:bodyPr/>
          <a:lstStyle/>
          <a:p>
            <a:fld id="{FA918F22-1231-AB43-96E7-2B8B890DCD5E}" type="slidenum">
              <a:rPr lang="en-US" smtClean="0"/>
              <a:pPr/>
              <a:t>59</a:t>
            </a:fld>
            <a:endParaRPr lang="en-US"/>
          </a:p>
        </p:txBody>
      </p:sp>
    </p:spTree>
    <p:extLst>
      <p:ext uri="{BB962C8B-B14F-4D97-AF65-F5344CB8AC3E}">
        <p14:creationId xmlns:p14="http://schemas.microsoft.com/office/powerpoint/2010/main" val="737661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FF841-1CC1-7881-C7D6-8A10B200EAC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DB1E340D-786A-2C23-1CDE-E8C8A0F1A45E}"/>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latin typeface="Proximus Bold" panose="00000500000000000000" pitchFamily="2" charset="0"/>
                <a:ea typeface="Aptos" panose="020B0004020202020204" pitchFamily="34" charset="0"/>
                <a:cs typeface="Arial" panose="020B0604020202020204" pitchFamily="34" charset="0"/>
              </a:rPr>
              <a:t>ROBIN</a:t>
            </a: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marR="0" lvl="0" indent="0" algn="l" defTabSz="411480">
              <a:lnSpc>
                <a:spcPct val="100000"/>
              </a:lnSpc>
              <a:spcBef>
                <a:spcPts val="0"/>
              </a:spcBef>
              <a:spcAft>
                <a:spcPts val="0"/>
              </a:spcAft>
              <a:buClrTx/>
              <a:buSzTx/>
              <a:buFontTx/>
              <a:buNone/>
              <a:tabLst/>
              <a:defRPr/>
            </a:pPr>
            <a:endPar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NL) : ja Robi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solidFill>
                  <a:schemeClr val="accent6"/>
                </a:solidFill>
                <a:latin typeface="Proximus" panose="00000500000000000000" pitchFamily="2" charset="0"/>
              </a:rPr>
              <a:t>We </a:t>
            </a:r>
            <a:r>
              <a:rPr lang="en-US" sz="1100" err="1">
                <a:solidFill>
                  <a:schemeClr val="accent6"/>
                </a:solidFill>
                <a:latin typeface="Proximus" panose="00000500000000000000" pitchFamily="2" charset="0"/>
              </a:rPr>
              <a:t>hadd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ee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oe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articipat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met 82%, wat </a:t>
            </a:r>
            <a:r>
              <a:rPr lang="en-US" sz="1100" err="1">
                <a:solidFill>
                  <a:schemeClr val="accent6"/>
                </a:solidFill>
                <a:latin typeface="Proximus" panose="00000500000000000000" pitchFamily="2" charset="0"/>
              </a:rPr>
              <a:t>hoger</a:t>
            </a:r>
            <a:r>
              <a:rPr lang="en-US" sz="1100">
                <a:solidFill>
                  <a:schemeClr val="accent6"/>
                </a:solidFill>
                <a:latin typeface="Proximus" panose="00000500000000000000" pitchFamily="2" charset="0"/>
              </a:rPr>
              <a:t> is dan </a:t>
            </a:r>
            <a:r>
              <a:rPr lang="en-US" sz="1100" err="1">
                <a:solidFill>
                  <a:schemeClr val="accent6"/>
                </a:solidFill>
                <a:latin typeface="Proximus" panose="00000500000000000000" pitchFamily="2" charset="0"/>
              </a:rPr>
              <a:t>vori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oven</a:t>
            </a:r>
            <a:r>
              <a:rPr lang="en-US" sz="1100">
                <a:solidFill>
                  <a:schemeClr val="accent6"/>
                </a:solidFill>
                <a:latin typeface="Proximus" panose="00000500000000000000" pitchFamily="2" charset="0"/>
              </a:rPr>
              <a:t> het Proximus </a:t>
            </a:r>
            <a:r>
              <a:rPr lang="en-US" sz="1100" err="1">
                <a:solidFill>
                  <a:schemeClr val="accent6"/>
                </a:solidFill>
                <a:latin typeface="Proximus" panose="00000500000000000000" pitchFamily="2" charset="0"/>
              </a:rPr>
              <a:t>gemiddelde</a:t>
            </a:r>
            <a:r>
              <a:rPr lang="en-US" sz="1100">
                <a:solidFill>
                  <a:schemeClr val="accent6"/>
                </a:solidFill>
                <a:latin typeface="Proximus" panose="00000500000000000000" pitchFamily="2" charset="0"/>
              </a:rPr>
              <a:t>.</a:t>
            </a:r>
          </a:p>
          <a:p>
            <a:pPr algn="l" defTabSz="685800"/>
            <a:r>
              <a:rPr lang="en-US" sz="1100">
                <a:solidFill>
                  <a:schemeClr val="accent6"/>
                </a:solidFill>
                <a:latin typeface="Proximus" panose="00000500000000000000" pitchFamily="2" charset="0"/>
              </a:rPr>
              <a:t>Zeer </a:t>
            </a:r>
            <a:r>
              <a:rPr lang="en-US" sz="1100" err="1">
                <a:solidFill>
                  <a:schemeClr val="accent6"/>
                </a:solidFill>
                <a:latin typeface="Proximus" panose="00000500000000000000" pitchFamily="2" charset="0"/>
              </a:rPr>
              <a:t>goe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esult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innen</a:t>
            </a:r>
            <a:r>
              <a:rPr lang="en-US" sz="1100">
                <a:solidFill>
                  <a:schemeClr val="accent6"/>
                </a:solidFill>
                <a:latin typeface="Proximus" panose="00000500000000000000" pitchFamily="2" charset="0"/>
              </a:rPr>
              <a:t> NBU. </a:t>
            </a:r>
            <a:r>
              <a:rPr lang="en-US" sz="1100" err="1">
                <a:solidFill>
                  <a:schemeClr val="accent6"/>
                </a:solidFill>
                <a:latin typeface="Proximus" panose="00000500000000000000" pitchFamily="2" charset="0"/>
              </a:rPr>
              <a:t>Bij</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sterkste</a:t>
            </a:r>
            <a:r>
              <a:rPr lang="en-US" sz="1100">
                <a:solidFill>
                  <a:schemeClr val="accent6"/>
                </a:solidFill>
                <a:latin typeface="Proximus" panose="00000500000000000000" pitchFamily="2" charset="0"/>
              </a:rPr>
              <a:t> van de </a:t>
            </a:r>
            <a:r>
              <a:rPr lang="en-US" sz="1100" err="1">
                <a:solidFill>
                  <a:schemeClr val="accent6"/>
                </a:solidFill>
                <a:latin typeface="Proximus" panose="00000500000000000000" pitchFamily="2" charset="0"/>
              </a:rPr>
              <a:t>gans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roep</a:t>
            </a:r>
            <a:r>
              <a:rPr lang="en-US" sz="1100">
                <a:solidFill>
                  <a:schemeClr val="accent6"/>
                </a:solidFill>
                <a:latin typeface="Proximus" panose="00000500000000000000" pitchFamily="2" charset="0"/>
              </a:rPr>
              <a:t>.</a:t>
            </a:r>
          </a:p>
          <a:p>
            <a:pPr marL="285750" indent="-285750" algn="l" defTabSz="685800">
              <a:buFontTx/>
              <a:buChar char="-"/>
            </a:pPr>
            <a:r>
              <a:rPr lang="en-US" sz="1100">
                <a:solidFill>
                  <a:schemeClr val="accent6"/>
                </a:solidFill>
                <a:latin typeface="Proximus" panose="00000500000000000000" pitchFamily="2" charset="0"/>
              </a:rPr>
              <a:t>Na de reeds </a:t>
            </a:r>
            <a:r>
              <a:rPr lang="en-US" sz="1100" err="1">
                <a:solidFill>
                  <a:schemeClr val="accent6"/>
                </a:solidFill>
                <a:latin typeface="Proximus" panose="00000500000000000000" pitchFamily="2" charset="0"/>
              </a:rPr>
              <a:t>goe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esultaten</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vori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is er </a:t>
            </a:r>
            <a:r>
              <a:rPr lang="en-US" sz="1100" err="1">
                <a:solidFill>
                  <a:schemeClr val="accent6"/>
                </a:solidFill>
                <a:latin typeface="Proximus" panose="00000500000000000000" pitchFamily="2" charset="0"/>
              </a:rPr>
              <a:t>teru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ijging</a:t>
            </a:r>
            <a:r>
              <a:rPr lang="en-US" sz="1100">
                <a:solidFill>
                  <a:schemeClr val="accent6"/>
                </a:solidFill>
                <a:latin typeface="Proximus" panose="00000500000000000000" pitchFamily="2" charset="0"/>
              </a:rPr>
              <a:t> op twee </a:t>
            </a:r>
            <a:r>
              <a:rPr lang="en-US" sz="1100" err="1">
                <a:solidFill>
                  <a:schemeClr val="accent6"/>
                </a:solidFill>
                <a:latin typeface="Proximus" panose="00000500000000000000" pitchFamily="2" charset="0"/>
              </a:rPr>
              <a:t>domeinen</a:t>
            </a:r>
            <a:r>
              <a:rPr lang="en-US" sz="1100">
                <a:solidFill>
                  <a:schemeClr val="accent6"/>
                </a:solidFill>
                <a:latin typeface="Proximus" panose="00000500000000000000" pitchFamily="2" charset="0"/>
              </a:rPr>
              <a:t>: a) Agility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b) Empowerment &amp; Accountability</a:t>
            </a:r>
          </a:p>
          <a:p>
            <a:pPr marL="285750" indent="-285750" algn="l" defTabSz="685800">
              <a:buFontTx/>
              <a:buChar char="-"/>
            </a:pP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klein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fname</a:t>
            </a:r>
            <a:r>
              <a:rPr lang="en-US" sz="1100">
                <a:solidFill>
                  <a:schemeClr val="accent6"/>
                </a:solidFill>
                <a:latin typeface="Proximus" panose="00000500000000000000" pitchFamily="2" charset="0"/>
              </a:rPr>
              <a:t> in Strategy &amp; Leadership</a:t>
            </a:r>
          </a:p>
          <a:p>
            <a:pPr algn="l" defTabSz="685800"/>
            <a:endParaRPr lang="en-US" sz="1100">
              <a:solidFill>
                <a:schemeClr val="accent6"/>
              </a:solidFill>
              <a:latin typeface="Proximus" panose="00000500000000000000" pitchFamily="2" charset="0"/>
            </a:endParaRPr>
          </a:p>
          <a:p>
            <a:pPr algn="l" defTabSz="685800"/>
            <a:r>
              <a:rPr lang="en-US" sz="1100">
                <a:solidFill>
                  <a:schemeClr val="accent6"/>
                </a:solidFill>
                <a:latin typeface="Proximus" panose="00000500000000000000" pitchFamily="2" charset="0"/>
              </a:rPr>
              <a:t>NBU </a:t>
            </a:r>
            <a:r>
              <a:rPr lang="en-US" sz="1100" err="1">
                <a:solidFill>
                  <a:schemeClr val="accent6"/>
                </a:solidFill>
                <a:latin typeface="Proximus" panose="00000500000000000000" pitchFamily="2" charset="0"/>
              </a:rPr>
              <a:t>scoort</a:t>
            </a:r>
            <a:r>
              <a:rPr lang="en-US" sz="1100">
                <a:solidFill>
                  <a:schemeClr val="accent6"/>
                </a:solidFill>
                <a:latin typeface="Proximus" panose="00000500000000000000" pitchFamily="2" charset="0"/>
              </a:rPr>
              <a:t> significant </a:t>
            </a:r>
            <a:r>
              <a:rPr lang="en-US" sz="1100" err="1">
                <a:solidFill>
                  <a:schemeClr val="accent6"/>
                </a:solidFill>
                <a:latin typeface="Proximus" panose="00000500000000000000" pitchFamily="2" charset="0"/>
              </a:rPr>
              <a:t>beter</a:t>
            </a:r>
            <a:r>
              <a:rPr lang="en-US" sz="1100">
                <a:solidFill>
                  <a:schemeClr val="accent6"/>
                </a:solidFill>
                <a:latin typeface="Proximus" panose="00000500000000000000" pitchFamily="2" charset="0"/>
              </a:rPr>
              <a:t> dan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BUs op </a:t>
            </a:r>
            <a:r>
              <a:rPr lang="en-US" sz="1100" err="1">
                <a:solidFill>
                  <a:schemeClr val="accent6"/>
                </a:solidFill>
                <a:latin typeface="Proximus" panose="00000500000000000000" pitchFamily="2" charset="0"/>
              </a:rPr>
              <a:t>communicat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l</a:t>
            </a:r>
            <a:r>
              <a:rPr lang="en-US" sz="1100">
                <a:solidFill>
                  <a:schemeClr val="accent6"/>
                </a:solidFill>
                <a:latin typeface="Proximus" panose="00000500000000000000" pitchFamily="2" charset="0"/>
              </a:rPr>
              <a:t> op de </a:t>
            </a:r>
            <a:r>
              <a:rPr lang="en-US" sz="1100" err="1">
                <a:solidFill>
                  <a:schemeClr val="accent6"/>
                </a:solidFill>
                <a:latin typeface="Proximus" panose="00000500000000000000" pitchFamily="2" charset="0"/>
              </a:rPr>
              <a:t>effectiviteit</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communicatie</a:t>
            </a:r>
            <a:r>
              <a:rPr lang="en-US" sz="1100">
                <a:solidFill>
                  <a:schemeClr val="accent6"/>
                </a:solidFill>
                <a:latin typeface="Proximus" panose="00000500000000000000" pitchFamily="2" charset="0"/>
              </a:rPr>
              <a:t>. </a:t>
            </a:r>
          </a:p>
          <a:p>
            <a:pPr algn="l" defTabSz="685800"/>
            <a:r>
              <a:rPr lang="en-US" sz="1100">
                <a:solidFill>
                  <a:schemeClr val="accent6"/>
                </a:solidFill>
                <a:latin typeface="Proximus" panose="00000500000000000000" pitchFamily="2" charset="0"/>
              </a:rPr>
              <a:t>NBU </a:t>
            </a:r>
            <a:r>
              <a:rPr lang="en-US" sz="1100" err="1">
                <a:solidFill>
                  <a:schemeClr val="accent6"/>
                </a:solidFill>
                <a:latin typeface="Proximus" panose="00000500000000000000" pitchFamily="2" charset="0"/>
              </a:rPr>
              <a:t>medewerker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el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ich</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erg </a:t>
            </a:r>
            <a:r>
              <a:rPr lang="en-US" sz="1100" err="1">
                <a:solidFill>
                  <a:schemeClr val="accent6"/>
                </a:solidFill>
                <a:latin typeface="Proximus" panose="00000500000000000000" pitchFamily="2" charset="0"/>
              </a:rPr>
              <a:t>gestertkt</a:t>
            </a:r>
            <a:r>
              <a:rPr lang="en-US" sz="1100">
                <a:solidFill>
                  <a:schemeClr val="accent6"/>
                </a:solidFill>
                <a:latin typeface="Proximus" panose="00000500000000000000" pitchFamily="2" charset="0"/>
              </a:rPr>
              <a:t> (empowered) in </a:t>
            </a:r>
            <a:r>
              <a:rPr lang="en-US" sz="1100" err="1">
                <a:solidFill>
                  <a:schemeClr val="accent6"/>
                </a:solidFill>
                <a:latin typeface="Proximus" panose="00000500000000000000" pitchFamily="2" charset="0"/>
              </a:rPr>
              <a:t>hun</a:t>
            </a:r>
            <a:r>
              <a:rPr lang="en-US" sz="1100">
                <a:solidFill>
                  <a:schemeClr val="accent6"/>
                </a:solidFill>
                <a:latin typeface="Proximus" panose="00000500000000000000" pitchFamily="2" charset="0"/>
              </a:rPr>
              <a:t> job,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ij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ee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ositief</a:t>
            </a:r>
            <a:r>
              <a:rPr lang="en-US" sz="1100">
                <a:solidFill>
                  <a:schemeClr val="accent6"/>
                </a:solidFill>
                <a:latin typeface="Proximus" panose="00000500000000000000" pitchFamily="2" charset="0"/>
              </a:rPr>
              <a:t> over </a:t>
            </a:r>
            <a:r>
              <a:rPr lang="en-US" sz="1100" err="1">
                <a:solidFill>
                  <a:schemeClr val="accent6"/>
                </a:solidFill>
                <a:latin typeface="Proximus" panose="00000500000000000000" pitchFamily="2" charset="0"/>
              </a:rPr>
              <a:t>hu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amleider</a:t>
            </a:r>
            <a:r>
              <a:rPr lang="en-US" sz="1100">
                <a:solidFill>
                  <a:schemeClr val="accent6"/>
                </a:solidFill>
                <a:latin typeface="Proximus" panose="00000500000000000000" pitchFamily="2" charset="0"/>
              </a:rPr>
              <a:t>.</a:t>
            </a:r>
          </a:p>
          <a:p>
            <a:pPr algn="l" defTabSz="685800"/>
            <a:endParaRPr lang="en-US" sz="1100">
              <a:solidFill>
                <a:schemeClr val="accent6"/>
              </a:solidFill>
              <a:latin typeface="Proximus" panose="00000500000000000000" pitchFamily="2" charset="0"/>
            </a:endParaRPr>
          </a:p>
          <a:p>
            <a:pPr defTabSz="685800"/>
            <a:r>
              <a:rPr lang="en-US" sz="1100">
                <a:solidFill>
                  <a:schemeClr val="accent6"/>
                </a:solidFill>
                <a:latin typeface="Proximus" panose="00000500000000000000" pitchFamily="2" charset="0"/>
              </a:rPr>
              <a:t>De focus van 2025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het </a:t>
            </a:r>
            <a:r>
              <a:rPr lang="en-US" sz="1100" err="1">
                <a:solidFill>
                  <a:schemeClr val="accent6"/>
                </a:solidFill>
                <a:latin typeface="Proximus" panose="00000500000000000000" pitchFamily="2" charset="0"/>
              </a:rPr>
              <a:t>strategische</a:t>
            </a:r>
            <a:r>
              <a:rPr lang="en-US" sz="1100">
                <a:solidFill>
                  <a:schemeClr val="accent6"/>
                </a:solidFill>
                <a:latin typeface="Proximus" panose="00000500000000000000" pitchFamily="2" charset="0"/>
              </a:rPr>
              <a:t> alignment </a:t>
            </a:r>
            <a:r>
              <a:rPr lang="en-US" sz="1100" err="1">
                <a:solidFill>
                  <a:schemeClr val="accent6"/>
                </a:solidFill>
                <a:latin typeface="Proximus" panose="00000500000000000000" pitchFamily="2" charset="0"/>
              </a:rPr>
              <a:t>zij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w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ull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paal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kommernis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on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bben</a:t>
            </a:r>
            <a:r>
              <a:rPr lang="en-US" sz="1100">
                <a:solidFill>
                  <a:schemeClr val="accent6"/>
                </a:solidFill>
                <a:latin typeface="Proximus" panose="00000500000000000000" pitchFamily="2" charset="0"/>
              </a:rPr>
              <a:t>, w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reden</a:t>
            </a:r>
            <a:r>
              <a:rPr lang="en-US" sz="1100">
                <a:solidFill>
                  <a:schemeClr val="accent6"/>
                </a:solidFill>
                <a:latin typeface="Proximus" panose="00000500000000000000" pitchFamily="2" charset="0"/>
              </a:rPr>
              <a:t> is </a:t>
            </a:r>
            <a:r>
              <a:rPr lang="en-US" sz="1100" err="1">
                <a:solidFill>
                  <a:schemeClr val="accent6"/>
                </a:solidFill>
                <a:latin typeface="Proximus" panose="00000500000000000000" pitchFamily="2" charset="0"/>
              </a:rPr>
              <a:t>waarom</a:t>
            </a:r>
            <a:r>
              <a:rPr lang="en-US" sz="1100">
                <a:solidFill>
                  <a:schemeClr val="accent6"/>
                </a:solidFill>
                <a:latin typeface="Proximus" panose="00000500000000000000" pitchFamily="2" charset="0"/>
              </a:rPr>
              <a:t> we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andaag</a:t>
            </a:r>
            <a:r>
              <a:rPr lang="en-US" sz="1100">
                <a:solidFill>
                  <a:schemeClr val="accent6"/>
                </a:solidFill>
                <a:latin typeface="Proximus" panose="00000500000000000000" pitchFamily="2" charset="0"/>
              </a:rPr>
              <a:t> zo hard </a:t>
            </a:r>
            <a:r>
              <a:rPr lang="en-US" sz="1100" err="1">
                <a:solidFill>
                  <a:schemeClr val="accent6"/>
                </a:solidFill>
                <a:latin typeface="Proximus" panose="00000500000000000000" pitchFamily="2" charset="0"/>
              </a:rPr>
              <a:t>gewerk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bb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rateg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e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uidelij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verbre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ull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ij</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wijze</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eers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ap</a:t>
            </a:r>
            <a:r>
              <a:rPr lang="en-US" sz="1100">
                <a:solidFill>
                  <a:schemeClr val="accent6"/>
                </a:solidFill>
                <a:latin typeface="Proximus" panose="00000500000000000000" pitchFamily="2" charset="0"/>
              </a:rPr>
              <a:t>.</a:t>
            </a:r>
            <a:endParaRPr lang="en-BE" sz="1100">
              <a:solidFill>
                <a:schemeClr val="accent6"/>
              </a:solidFill>
              <a:latin typeface="Proximus" panose="00000500000000000000" pitchFamily="2" charset="0"/>
            </a:endParaRP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nl-NL" sz="1100" b="0" i="0">
                <a:solidFill>
                  <a:schemeClr val="accent6"/>
                </a:solidFill>
                <a:effectLst/>
                <a:latin typeface="Proximus" panose="00000500000000000000" pitchFamily="2" charset="0"/>
                <a:cs typeface="Segoe UI"/>
              </a:rPr>
              <a:t>Geert, ik denk dat je erg trots bent op wat we allemaal samen hebben bereikt... en om onze successen met enkele voorbeelden te illustreren, hebben bijna 40 collega’s meegeholpen om deze in een video te gieten. We bekijken hem vandaag in 2 delen, en hier is alvast deel 1… </a:t>
            </a:r>
            <a:r>
              <a:rPr lang="nl-NL" sz="1100" b="0" i="0" err="1">
                <a:solidFill>
                  <a:schemeClr val="accent6"/>
                </a:solidFill>
                <a:effectLst/>
                <a:latin typeface="Proximus" panose="00000500000000000000" pitchFamily="2" charset="0"/>
                <a:cs typeface="Segoe UI"/>
              </a:rPr>
              <a:t>let’s</a:t>
            </a:r>
            <a:r>
              <a:rPr lang="nl-NL" sz="1100" b="0" i="0">
                <a:solidFill>
                  <a:schemeClr val="accent6"/>
                </a:solidFill>
                <a:effectLst/>
                <a:latin typeface="Proximus" panose="00000500000000000000" pitchFamily="2" charset="0"/>
                <a:cs typeface="Segoe UI"/>
              </a:rPr>
              <a:t> go! (PART1  - PART 2 At </a:t>
            </a:r>
            <a:r>
              <a:rPr lang="nl-NL" sz="1100" b="0" i="0" err="1">
                <a:solidFill>
                  <a:schemeClr val="accent6"/>
                </a:solidFill>
                <a:effectLst/>
                <a:latin typeface="Proximus" panose="00000500000000000000" pitchFamily="2" charset="0"/>
                <a:cs typeface="Segoe UI"/>
              </a:rPr>
              <a:t>the</a:t>
            </a:r>
            <a:r>
              <a:rPr lang="nl-NL" sz="1100" b="0" i="0">
                <a:solidFill>
                  <a:schemeClr val="accent6"/>
                </a:solidFill>
                <a:effectLst/>
                <a:latin typeface="Proximus" panose="00000500000000000000" pitchFamily="2" charset="0"/>
                <a:cs typeface="Segoe UI"/>
              </a:rPr>
              <a:t> end of </a:t>
            </a:r>
            <a:r>
              <a:rPr lang="nl-NL" sz="1100" b="0" i="0" err="1">
                <a:solidFill>
                  <a:schemeClr val="accent6"/>
                </a:solidFill>
                <a:effectLst/>
                <a:latin typeface="Proximus" panose="00000500000000000000" pitchFamily="2" charset="0"/>
                <a:cs typeface="Segoe UI"/>
              </a:rPr>
              <a:t>the</a:t>
            </a:r>
            <a:r>
              <a:rPr lang="nl-NL" sz="1100" b="0" i="0">
                <a:solidFill>
                  <a:schemeClr val="accent6"/>
                </a:solidFill>
                <a:effectLst/>
                <a:latin typeface="Proximus" panose="00000500000000000000" pitchFamily="2" charset="0"/>
                <a:cs typeface="Segoe UI"/>
              </a:rPr>
              <a:t> event) !</a:t>
            </a:r>
            <a:r>
              <a:rPr lang="en-US" sz="1100" b="0">
                <a:solidFill>
                  <a:schemeClr val="accent6"/>
                </a:solidFill>
                <a:latin typeface="Proximus" panose="00000500000000000000" pitchFamily="2" charset="0"/>
              </a:rPr>
              <a:t> </a:t>
            </a:r>
            <a:endParaRPr lang="en-BE" sz="1100" b="0">
              <a:solidFill>
                <a:schemeClr val="accent6"/>
              </a:solidFill>
              <a:latin typeface="Proximus" panose="00000500000000000000" pitchFamily="2" charset="0"/>
            </a:endParaRPr>
          </a:p>
        </p:txBody>
      </p:sp>
    </p:spTree>
    <p:extLst>
      <p:ext uri="{BB962C8B-B14F-4D97-AF65-F5344CB8AC3E}">
        <p14:creationId xmlns:p14="http://schemas.microsoft.com/office/powerpoint/2010/main" val="7989662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AF797-C06D-2586-BEB5-D5C6E2BE1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AE5CC-8FAD-79BC-58A2-13849228D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195B58-B5E9-32B7-5BB5-CFB7F9278A9A}"/>
              </a:ext>
            </a:extLst>
          </p:cNvPr>
          <p:cNvSpPr>
            <a:spLocks noGrp="1"/>
          </p:cNvSpPr>
          <p:nvPr>
            <p:ph type="body" idx="1"/>
          </p:nvPr>
        </p:nvSpPr>
        <p:spPr/>
        <p:txBody>
          <a:bodyPr/>
          <a:lstStyle/>
          <a:p>
            <a:pPr>
              <a:lnSpc>
                <a:spcPct val="107000"/>
              </a:lnSpc>
              <a:spcAft>
                <a:spcPts val="800"/>
              </a:spcAft>
            </a:pPr>
            <a:r>
              <a:rPr lang="fr-FR" sz="800" b="1" u="sng" kern="100">
                <a:solidFill>
                  <a:schemeClr val="accent6"/>
                </a:solidFill>
                <a:latin typeface="Proximus Light"/>
              </a:rPr>
              <a:t>GEERT [FR]</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Nous attendons de vous que vous deveniez des </a:t>
            </a:r>
            <a:r>
              <a:rPr lang="fr-BE" sz="1100" b="1" i="0">
                <a:solidFill>
                  <a:schemeClr val="accent6"/>
                </a:solidFill>
                <a:effectLst/>
                <a:latin typeface="Segoe UI" panose="020B0502040204020203" pitchFamily="34" charset="0"/>
              </a:rPr>
              <a:t>ambassadeurs</a:t>
            </a:r>
            <a:r>
              <a:rPr lang="fr-BE" sz="1100" b="0" i="0">
                <a:solidFill>
                  <a:schemeClr val="accent6"/>
                </a:solidFill>
                <a:effectLst/>
                <a:latin typeface="Segoe UI" panose="020B0502040204020203" pitchFamily="34" charset="0"/>
              </a:rPr>
              <a:t> de notre stratégie NBU 4.0. Cela ne se fait pas seulement en appliquant les bons comportements en accord avec notre culture "</a:t>
            </a:r>
            <a:r>
              <a:rPr lang="fr-BE" sz="1100" b="0" i="0" err="1">
                <a:solidFill>
                  <a:schemeClr val="accent6"/>
                </a:solidFill>
                <a:effectLst/>
                <a:latin typeface="Segoe UI" panose="020B0502040204020203" pitchFamily="34" charset="0"/>
              </a:rPr>
              <a:t>think</a:t>
            </a:r>
            <a:r>
              <a:rPr lang="fr-BE" sz="1100" b="0" i="0">
                <a:solidFill>
                  <a:schemeClr val="accent6"/>
                </a:solidFill>
                <a:effectLst/>
                <a:latin typeface="Segoe UI" panose="020B0502040204020203" pitchFamily="34" charset="0"/>
              </a:rPr>
              <a:t> possible", mais aussi en </a:t>
            </a:r>
            <a:r>
              <a:rPr lang="fr-BE" sz="1100" b="1" i="0">
                <a:solidFill>
                  <a:schemeClr val="accent6"/>
                </a:solidFill>
                <a:effectLst/>
                <a:latin typeface="Segoe UI" panose="020B0502040204020203" pitchFamily="34" charset="0"/>
              </a:rPr>
              <a:t>vivant et respirant la stratégie </a:t>
            </a:r>
            <a:r>
              <a:rPr lang="fr-BE" sz="1100" b="0" i="0">
                <a:solidFill>
                  <a:schemeClr val="accent6"/>
                </a:solidFill>
                <a:effectLst/>
                <a:latin typeface="Segoe UI" panose="020B0502040204020203" pitchFamily="34" charset="0"/>
              </a:rPr>
              <a:t>et en aidant à </a:t>
            </a:r>
            <a:r>
              <a:rPr lang="fr-BE" sz="1100" b="1" i="0">
                <a:solidFill>
                  <a:schemeClr val="accent6"/>
                </a:solidFill>
                <a:effectLst/>
                <a:latin typeface="Segoe UI" panose="020B0502040204020203" pitchFamily="34" charset="0"/>
              </a:rPr>
              <a:t>étendre sa portée </a:t>
            </a:r>
            <a:r>
              <a:rPr lang="fr-BE" sz="1100" b="0" i="0">
                <a:solidFill>
                  <a:schemeClr val="accent6"/>
                </a:solidFill>
                <a:effectLst/>
                <a:latin typeface="Segoe UI" panose="020B0502040204020203" pitchFamily="34" charset="0"/>
              </a:rPr>
              <a:t>dans l'entreprise.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Vous aurez tous un rôle à jouer dans cette histoire, et nous voulons vos contributions, vos feedbacks.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Nous ne voulons </a:t>
            </a:r>
            <a:r>
              <a:rPr lang="fr-BE" sz="1100" b="1" i="0">
                <a:solidFill>
                  <a:schemeClr val="accent6"/>
                </a:solidFill>
                <a:effectLst/>
                <a:latin typeface="Segoe UI" panose="020B0502040204020203" pitchFamily="34" charset="0"/>
              </a:rPr>
              <a:t>pas d'une stratégie top down, fixe et statique</a:t>
            </a:r>
            <a:r>
              <a:rPr lang="fr-BE" sz="1100" b="0" i="0">
                <a:solidFill>
                  <a:schemeClr val="accent6"/>
                </a:solidFill>
                <a:effectLst/>
                <a:latin typeface="Segoe UI" panose="020B0502040204020203" pitchFamily="34" charset="0"/>
              </a:rPr>
              <a:t>.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Et bien sûr, votre </a:t>
            </a:r>
            <a:r>
              <a:rPr lang="fr-BE" sz="1100" b="1" i="0">
                <a:solidFill>
                  <a:schemeClr val="accent6"/>
                </a:solidFill>
                <a:effectLst/>
                <a:latin typeface="Segoe UI" panose="020B0502040204020203" pitchFamily="34" charset="0"/>
              </a:rPr>
              <a:t>rôle</a:t>
            </a:r>
            <a:r>
              <a:rPr lang="fr-BE" sz="1100" b="0" i="0">
                <a:solidFill>
                  <a:schemeClr val="accent6"/>
                </a:solidFill>
                <a:effectLst/>
                <a:latin typeface="Segoe UI" panose="020B0502040204020203" pitchFamily="34" charset="0"/>
              </a:rPr>
              <a:t> sera également </a:t>
            </a:r>
            <a:r>
              <a:rPr lang="fr-BE" sz="1100" b="1" i="0">
                <a:solidFill>
                  <a:schemeClr val="accent6"/>
                </a:solidFill>
                <a:effectLst/>
                <a:latin typeface="Segoe UI" panose="020B0502040204020203" pitchFamily="34" charset="0"/>
              </a:rPr>
              <a:t>crucial</a:t>
            </a:r>
            <a:r>
              <a:rPr lang="fr-BE" sz="1100" b="0" i="0">
                <a:solidFill>
                  <a:schemeClr val="accent6"/>
                </a:solidFill>
                <a:effectLst/>
                <a:latin typeface="Segoe UI" panose="020B0502040204020203" pitchFamily="34" charset="0"/>
              </a:rPr>
              <a:t> dans </a:t>
            </a:r>
            <a:r>
              <a:rPr lang="fr-BE" sz="1100" b="1" i="0">
                <a:solidFill>
                  <a:schemeClr val="accent6"/>
                </a:solidFill>
                <a:effectLst/>
                <a:latin typeface="Segoe UI" panose="020B0502040204020203" pitchFamily="34" charset="0"/>
              </a:rPr>
              <a:t>la phase de mise en œuvre</a:t>
            </a:r>
            <a:endParaRPr lang="fr-FR" sz="1100" b="1">
              <a:solidFill>
                <a:schemeClr val="accent6"/>
              </a:solidFill>
            </a:endParaRPr>
          </a:p>
        </p:txBody>
      </p:sp>
      <p:sp>
        <p:nvSpPr>
          <p:cNvPr id="4" name="Slide Number Placeholder 3">
            <a:extLst>
              <a:ext uri="{FF2B5EF4-FFF2-40B4-BE49-F238E27FC236}">
                <a16:creationId xmlns:a16="http://schemas.microsoft.com/office/drawing/2014/main" id="{03CDEB8A-AD9F-AE20-4161-C34333FCFBF1}"/>
              </a:ext>
            </a:extLst>
          </p:cNvPr>
          <p:cNvSpPr>
            <a:spLocks noGrp="1"/>
          </p:cNvSpPr>
          <p:nvPr>
            <p:ph type="sldNum" sz="quarter" idx="5"/>
          </p:nvPr>
        </p:nvSpPr>
        <p:spPr/>
        <p:txBody>
          <a:bodyPr/>
          <a:lstStyle/>
          <a:p>
            <a:fld id="{FA918F22-1231-AB43-96E7-2B8B890DCD5E}" type="slidenum">
              <a:rPr lang="en-US" smtClean="0"/>
              <a:pPr/>
              <a:t>60</a:t>
            </a:fld>
            <a:endParaRPr lang="en-US"/>
          </a:p>
        </p:txBody>
      </p:sp>
    </p:spTree>
    <p:extLst>
      <p:ext uri="{BB962C8B-B14F-4D97-AF65-F5344CB8AC3E}">
        <p14:creationId xmlns:p14="http://schemas.microsoft.com/office/powerpoint/2010/main" val="29133772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BE92F-1544-D19B-9315-9868DA48A1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0DD0A-7E19-FFB2-4815-920BC6368D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4D8C5-6F66-073E-FA00-7BD8A67FCAAA}"/>
              </a:ext>
            </a:extLst>
          </p:cNvPr>
          <p:cNvSpPr>
            <a:spLocks noGrp="1"/>
          </p:cNvSpPr>
          <p:nvPr>
            <p:ph type="body" idx="1"/>
          </p:nvPr>
        </p:nvSpPr>
        <p:spPr/>
        <p:txBody>
          <a:bodyPr/>
          <a:lstStyle/>
          <a:p>
            <a:pPr>
              <a:lnSpc>
                <a:spcPct val="107000"/>
              </a:lnSpc>
              <a:spcAft>
                <a:spcPts val="800"/>
              </a:spcAft>
            </a:pPr>
            <a:r>
              <a:rPr lang="fr-FR" sz="1100" b="1" u="sng" kern="100" dirty="0">
                <a:solidFill>
                  <a:schemeClr val="accent6"/>
                </a:solidFill>
                <a:latin typeface="Proximus Light"/>
                <a:cs typeface="Arial" panose="020B0604020202020204" pitchFamily="34" charset="0"/>
              </a:rPr>
              <a:t>GEERT [NL]</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Wij zullen een speciale </a:t>
            </a:r>
            <a:r>
              <a:rPr lang="nl-NL" sz="1100" kern="100" dirty="0" err="1">
                <a:solidFill>
                  <a:schemeClr val="accent6"/>
                </a:solidFill>
                <a:latin typeface="Proximus Bold"/>
              </a:rPr>
              <a:t>governance</a:t>
            </a:r>
            <a:r>
              <a:rPr lang="nl-NL" sz="1100" kern="100" dirty="0">
                <a:solidFill>
                  <a:schemeClr val="accent6"/>
                </a:solidFill>
                <a:latin typeface="Proximus Bold"/>
              </a:rPr>
              <a:t> hebben op het niveau van de NBU MC om de vooruitgang op te volgen aangezien dit voor ons DE top prioriteit is voor de komende jaren.</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En natuurlijk hebben jullie ook verwachtingen van ons, en terecht.</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Jullie mogen van ons verwachten dat we jullie zullen ondersteunen in het bereiken van onze doelen door jullie de zuurstof te geven die nodig is om hieraan te werken, en de richting te geven en beslissingen te maken om hier een succesverhaal van te maken.</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Dus, laat jullie horen. Neem contact, deel jullie bezorgdheden, stel jullie vragen, leg ons de nodige beslissingen voor, en wij zullen jullie hierin supporteren.</a:t>
            </a:r>
          </a:p>
          <a:p>
            <a:pPr marL="0" indent="0">
              <a:lnSpc>
                <a:spcPct val="107000"/>
              </a:lnSpc>
              <a:spcAft>
                <a:spcPts val="800"/>
              </a:spcAft>
              <a:buFont typeface="Arial" panose="020B0604020202020204" pitchFamily="34" charset="0"/>
              <a:buNone/>
            </a:pPr>
            <a:endParaRPr lang="nl-NL" sz="1100" kern="100" dirty="0">
              <a:solidFill>
                <a:schemeClr val="accent6"/>
              </a:solidFill>
              <a:latin typeface="Proximus Bold"/>
            </a:endParaRPr>
          </a:p>
          <a:p>
            <a:pPr marL="0" indent="0">
              <a:lnSpc>
                <a:spcPct val="107000"/>
              </a:lnSpc>
              <a:spcAft>
                <a:spcPts val="800"/>
              </a:spcAft>
              <a:buFont typeface="Arial" panose="020B0604020202020204" pitchFamily="34" charset="0"/>
              <a:buNone/>
            </a:pPr>
            <a:r>
              <a:rPr lang="en-GB" sz="1100" b="1" u="sng" dirty="0">
                <a:solidFill>
                  <a:schemeClr val="accent6"/>
                </a:solidFill>
                <a:latin typeface="Proximus Bold"/>
              </a:rPr>
              <a:t>MAGALI </a:t>
            </a:r>
            <a:r>
              <a:rPr lang="en-GB" sz="1100" dirty="0">
                <a:solidFill>
                  <a:schemeClr val="accent6"/>
                </a:solidFill>
                <a:latin typeface="Proximus Bold"/>
              </a:rPr>
              <a:t>: </a:t>
            </a:r>
            <a:r>
              <a:rPr lang="fr-BE" sz="1100" b="0" i="0" dirty="0">
                <a:solidFill>
                  <a:schemeClr val="accent6"/>
                </a:solidFill>
                <a:effectLst/>
                <a:latin typeface="Segoe UI" panose="020B0502040204020203" pitchFamily="34" charset="0"/>
              </a:rPr>
              <a:t>Merci Geert. Après toutes ces informations, il me semble utile de voir si certaines personnes ont des questions à ce sujet. Nous allons donc bientôt passer à la session de questions-réponses. Mais avant cela, découvrons ensemble la 2</a:t>
            </a:r>
            <a:r>
              <a:rPr lang="fr-BE" sz="1100" b="0" i="0" baseline="30000" dirty="0">
                <a:solidFill>
                  <a:schemeClr val="accent6"/>
                </a:solidFill>
                <a:effectLst/>
                <a:latin typeface="Segoe UI" panose="020B0502040204020203" pitchFamily="34" charset="0"/>
              </a:rPr>
              <a:t>ème</a:t>
            </a:r>
            <a:r>
              <a:rPr lang="fr-BE" sz="1100" b="0" i="0" dirty="0">
                <a:solidFill>
                  <a:schemeClr val="accent6"/>
                </a:solidFill>
                <a:effectLst/>
                <a:latin typeface="Segoe UI" panose="020B0502040204020203" pitchFamily="34" charset="0"/>
              </a:rPr>
              <a:t> partie de notre vidéo « </a:t>
            </a:r>
            <a:r>
              <a:rPr lang="fr-BE" sz="1100" b="0" i="0" dirty="0" err="1">
                <a:solidFill>
                  <a:schemeClr val="accent6"/>
                </a:solidFill>
                <a:effectLst/>
                <a:latin typeface="Segoe UI" panose="020B0502040204020203" pitchFamily="34" charset="0"/>
              </a:rPr>
              <a:t>Achievement</a:t>
            </a:r>
            <a:r>
              <a:rPr lang="fr-BE" sz="1100" b="0" i="0" dirty="0">
                <a:solidFill>
                  <a:schemeClr val="accent6"/>
                </a:solidFill>
                <a:effectLst/>
                <a:latin typeface="Segoe UI" panose="020B0502040204020203" pitchFamily="34" charset="0"/>
              </a:rPr>
              <a:t> 2024 ». Cela vous laissera quelques minutes pour préparer vos questions. </a:t>
            </a:r>
          </a:p>
          <a:p>
            <a:pPr marL="0" indent="0">
              <a:lnSpc>
                <a:spcPct val="107000"/>
              </a:lnSpc>
              <a:spcAft>
                <a:spcPts val="800"/>
              </a:spcAft>
              <a:buFont typeface="Arial" panose="020B0604020202020204" pitchFamily="34" charset="0"/>
              <a:buNone/>
            </a:pPr>
            <a:endParaRPr lang="nl-NL" sz="1100" b="0" i="0" dirty="0">
              <a:solidFill>
                <a:schemeClr val="accent6"/>
              </a:solidFill>
              <a:effectLst/>
              <a:latin typeface="Segoe UI" panose="020B0502040204020203" pitchFamily="34" charset="0"/>
            </a:endParaRPr>
          </a:p>
          <a:p>
            <a:pPr marL="0" indent="0">
              <a:lnSpc>
                <a:spcPct val="107000"/>
              </a:lnSpc>
              <a:spcAft>
                <a:spcPts val="800"/>
              </a:spcAft>
              <a:buFont typeface="Arial" panose="020B0604020202020204" pitchFamily="34" charset="0"/>
              <a:buNone/>
            </a:pPr>
            <a:r>
              <a:rPr lang="nl-NL" sz="1100" b="0" i="0" dirty="0">
                <a:solidFill>
                  <a:schemeClr val="accent6"/>
                </a:solidFill>
                <a:effectLst/>
                <a:latin typeface="Segoe UI" panose="020B0502040204020203" pitchFamily="34" charset="0"/>
                <a:sym typeface="Wingdings" panose="05000000000000000000" pitchFamily="2" charset="2"/>
              </a:rPr>
              <a:t> </a:t>
            </a:r>
            <a:r>
              <a:rPr lang="nl-NL" sz="1100" b="1" i="0" dirty="0">
                <a:solidFill>
                  <a:schemeClr val="accent6"/>
                </a:solidFill>
                <a:effectLst/>
                <a:latin typeface="Segoe UI" panose="020B0502040204020203" pitchFamily="34" charset="0"/>
                <a:sym typeface="Wingdings" panose="05000000000000000000" pitchFamily="2" charset="2"/>
              </a:rPr>
              <a:t>ALL NBU MC GO ON STAGE + ROBIN</a:t>
            </a:r>
            <a:br>
              <a:rPr lang="nl-NL" sz="1100" b="0" i="0" dirty="0">
                <a:solidFill>
                  <a:srgbClr val="242424"/>
                </a:solidFill>
                <a:effectLst/>
                <a:latin typeface="Segoe UI" panose="020B0502040204020203" pitchFamily="34" charset="0"/>
              </a:rPr>
            </a:br>
            <a:endParaRPr lang="nl-NL" sz="1100" b="0" i="0" dirty="0">
              <a:solidFill>
                <a:srgbClr val="242424"/>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4629371E-D5B2-85D5-0DC1-16BA2FD5849B}"/>
              </a:ext>
            </a:extLst>
          </p:cNvPr>
          <p:cNvSpPr>
            <a:spLocks noGrp="1"/>
          </p:cNvSpPr>
          <p:nvPr>
            <p:ph type="sldNum" sz="quarter" idx="5"/>
          </p:nvPr>
        </p:nvSpPr>
        <p:spPr/>
        <p:txBody>
          <a:bodyPr/>
          <a:lstStyle/>
          <a:p>
            <a:fld id="{FA918F22-1231-AB43-96E7-2B8B890DCD5E}" type="slidenum">
              <a:rPr lang="en-US" smtClean="0"/>
              <a:pPr/>
              <a:t>61</a:t>
            </a:fld>
            <a:endParaRPr lang="en-US"/>
          </a:p>
        </p:txBody>
      </p:sp>
    </p:spTree>
    <p:extLst>
      <p:ext uri="{BB962C8B-B14F-4D97-AF65-F5344CB8AC3E}">
        <p14:creationId xmlns:p14="http://schemas.microsoft.com/office/powerpoint/2010/main" val="3021439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53B1B-61BA-7973-30E6-1317F0BA4B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A6C4BD-E74C-F342-D048-1F8683BD84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D6756C-5558-4CBD-CFC7-BA6551EC4516}"/>
              </a:ext>
            </a:extLst>
          </p:cNvPr>
          <p:cNvSpPr>
            <a:spLocks noGrp="1"/>
          </p:cNvSpPr>
          <p:nvPr>
            <p:ph type="body" idx="1"/>
          </p:nvPr>
        </p:nvSpPr>
        <p:spPr/>
        <p:txBody>
          <a:bodyPr/>
          <a:lstStyle/>
          <a:p>
            <a:r>
              <a:rPr lang="fr-FR" sz="4400" b="0" dirty="0" err="1">
                <a:solidFill>
                  <a:schemeClr val="tx1"/>
                </a:solidFill>
                <a:latin typeface="Proximus Light" pitchFamily="2" charset="77"/>
              </a:rPr>
              <a:t>Achievements</a:t>
            </a:r>
            <a:r>
              <a:rPr lang="fr-FR" sz="4400" b="0" dirty="0">
                <a:solidFill>
                  <a:schemeClr val="tx1"/>
                </a:solidFill>
                <a:latin typeface="Proximus Light" pitchFamily="2" charset="77"/>
              </a:rPr>
              <a:t> </a:t>
            </a:r>
            <a:r>
              <a:rPr lang="fr-FR" sz="4400" b="0" dirty="0" err="1">
                <a:solidFill>
                  <a:schemeClr val="tx1"/>
                </a:solidFill>
                <a:latin typeface="Proximus Light" pitchFamily="2" charset="77"/>
              </a:rPr>
              <a:t>video</a:t>
            </a:r>
            <a:br>
              <a:rPr lang="fr-FR" sz="4400" b="0" dirty="0">
                <a:solidFill>
                  <a:schemeClr val="tx1"/>
                </a:solidFill>
                <a:latin typeface="Proximus Light" pitchFamily="2" charset="77"/>
              </a:rPr>
            </a:br>
            <a:r>
              <a:rPr lang="fr-FR" sz="4400" b="0" dirty="0">
                <a:solidFill>
                  <a:schemeClr val="tx1"/>
                </a:solidFill>
                <a:latin typeface="Proximus Light" pitchFamily="2" charset="77"/>
              </a:rPr>
              <a:t>PART2</a:t>
            </a:r>
            <a:endParaRPr lang="en-US" sz="1100" b="1" dirty="0"/>
          </a:p>
        </p:txBody>
      </p:sp>
      <p:sp>
        <p:nvSpPr>
          <p:cNvPr id="4" name="Slide Number Placeholder 3">
            <a:extLst>
              <a:ext uri="{FF2B5EF4-FFF2-40B4-BE49-F238E27FC236}">
                <a16:creationId xmlns:a16="http://schemas.microsoft.com/office/drawing/2014/main" id="{2942BA09-D275-84F9-DE47-DC540EB0D03E}"/>
              </a:ext>
            </a:extLst>
          </p:cNvPr>
          <p:cNvSpPr>
            <a:spLocks noGrp="1"/>
          </p:cNvSpPr>
          <p:nvPr>
            <p:ph type="sldNum" sz="quarter" idx="5"/>
          </p:nvPr>
        </p:nvSpPr>
        <p:spPr/>
        <p:txBody>
          <a:bodyPr/>
          <a:lstStyle/>
          <a:p>
            <a:fld id="{FA918F22-1231-AB43-96E7-2B8B890DCD5E}" type="slidenum">
              <a:rPr lang="en-US" smtClean="0"/>
              <a:pPr/>
              <a:t>62</a:t>
            </a:fld>
            <a:endParaRPr lang="en-US"/>
          </a:p>
        </p:txBody>
      </p:sp>
    </p:spTree>
    <p:extLst>
      <p:ext uri="{BB962C8B-B14F-4D97-AF65-F5344CB8AC3E}">
        <p14:creationId xmlns:p14="http://schemas.microsoft.com/office/powerpoint/2010/main" val="32221375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3885F-43EC-B97A-85BF-A31A9B1CF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446F44-E33E-98BA-A170-DC9AC81133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10C685-3370-A43B-9EBA-5AFFC4F1DF6A}"/>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none" kern="100" dirty="0">
                <a:solidFill>
                  <a:srgbClr val="C04F15"/>
                </a:solidFill>
                <a:effectLst/>
                <a:latin typeface="Proximus Light" pitchFamily="2" charset="77"/>
                <a:ea typeface="Aptos" panose="020B0004020202020204" pitchFamily="34" charset="0"/>
                <a:cs typeface="Arial" panose="020B0604020202020204" pitchFamily="34" charset="0"/>
              </a:rPr>
              <a:t>Switch to full widescreen video loop &gt; px_sc_bold_q&amp;a_loop_5400x1080.mp4</a:t>
            </a: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rPr>
              <a:t>MAGALI &amp; ROBIN </a:t>
            </a:r>
            <a:r>
              <a:rPr lang="en-US" sz="1100" u="sng" kern="100" dirty="0">
                <a:solidFill>
                  <a:srgbClr val="C04F15"/>
                </a:solidFill>
                <a:effectLst/>
                <a:latin typeface="Proximus Light" pitchFamily="2" charset="77"/>
                <a:ea typeface="Aptos" panose="020B0004020202020204" pitchFamily="34" charset="0"/>
                <a:cs typeface="Arial" panose="020B0604020202020204" pitchFamily="34" charset="0"/>
              </a:rPr>
              <a:t>on stage (switch languages)</a:t>
            </a:r>
          </a:p>
          <a:p>
            <a:endParaRPr lang="en-GB" sz="1100" dirty="0">
              <a:latin typeface="Proximus Bold"/>
            </a:endParaRPr>
          </a:p>
          <a:p>
            <a:r>
              <a:rPr lang="en-GB" sz="1100" dirty="0">
                <a:latin typeface="Proximus Bold"/>
              </a:rPr>
              <a:t>ALL NBU MC ON STAGE</a:t>
            </a:r>
          </a:p>
          <a:p>
            <a:endParaRPr lang="en-GB" sz="1100" dirty="0">
              <a:latin typeface="Proximus Bold"/>
            </a:endParaRPr>
          </a:p>
          <a:p>
            <a:r>
              <a:rPr lang="en-GB" sz="1100" b="1" u="sng" dirty="0">
                <a:latin typeface="Proximus Bold"/>
              </a:rPr>
              <a:t>ROBIN/MAGALI </a:t>
            </a:r>
            <a:r>
              <a:rPr lang="en-GB" sz="1100" dirty="0">
                <a:latin typeface="Proximus Bold"/>
              </a:rPr>
              <a:t>:</a:t>
            </a:r>
            <a:r>
              <a:rPr lang="nl-NL" sz="3200" b="0" i="0" dirty="0">
                <a:solidFill>
                  <a:srgbClr val="242424"/>
                </a:solidFill>
                <a:effectLst/>
                <a:latin typeface="Segoe UI" panose="020B0502040204020203" pitchFamily="34" charset="0"/>
              </a:rPr>
              <a:t>Laten we dan eens kijken naar de vragen die we via </a:t>
            </a:r>
            <a:r>
              <a:rPr lang="nl-NL" sz="3200" b="0" i="0" dirty="0" err="1">
                <a:solidFill>
                  <a:srgbClr val="242424"/>
                </a:solidFill>
                <a:effectLst/>
                <a:latin typeface="Segoe UI" panose="020B0502040204020203" pitchFamily="34" charset="0"/>
              </a:rPr>
              <a:t>Slido</a:t>
            </a:r>
            <a:r>
              <a:rPr lang="nl-NL" sz="3200" b="0" i="0" dirty="0">
                <a:solidFill>
                  <a:srgbClr val="242424"/>
                </a:solidFill>
                <a:effectLst/>
                <a:latin typeface="Segoe UI" panose="020B0502040204020203" pitchFamily="34" charset="0"/>
              </a:rPr>
              <a:t> hebben ontvangen. Joris en Sylvie, wat zijn de ontvangen vragen? Joris/Sylvie Etc... </a:t>
            </a:r>
          </a:p>
          <a:p>
            <a:endParaRPr lang="nl-NL" sz="3200" b="0" i="0" dirty="0">
              <a:solidFill>
                <a:srgbClr val="242424"/>
              </a:solidFill>
              <a:effectLst/>
              <a:latin typeface="Segoe UI" panose="020B0502040204020203" pitchFamily="34" charset="0"/>
              <a:sym typeface="Wingdings" panose="05000000000000000000" pitchFamily="2" charset="2"/>
            </a:endParaRPr>
          </a:p>
          <a:p>
            <a:r>
              <a:rPr lang="en-GB" sz="1100" dirty="0">
                <a:latin typeface="Proximus Bold"/>
                <a:sym typeface="Wingdings" panose="05000000000000000000" pitchFamily="2" charset="2"/>
              </a:rPr>
              <a:t>(check Valérie for closing – need to respect timing – closing at 16h35 max)</a:t>
            </a:r>
          </a:p>
          <a:p>
            <a:endParaRPr lang="en-GB" sz="1100" dirty="0">
              <a:latin typeface="Proximus Bold"/>
            </a:endParaRPr>
          </a:p>
        </p:txBody>
      </p:sp>
      <p:sp>
        <p:nvSpPr>
          <p:cNvPr id="4" name="Slide Number Placeholder 3">
            <a:extLst>
              <a:ext uri="{FF2B5EF4-FFF2-40B4-BE49-F238E27FC236}">
                <a16:creationId xmlns:a16="http://schemas.microsoft.com/office/drawing/2014/main" id="{25602570-922D-3609-4E0D-A41B9C912925}"/>
              </a:ext>
            </a:extLst>
          </p:cNvPr>
          <p:cNvSpPr>
            <a:spLocks noGrp="1"/>
          </p:cNvSpPr>
          <p:nvPr>
            <p:ph type="sldNum" sz="quarter" idx="5"/>
          </p:nvPr>
        </p:nvSpPr>
        <p:spPr/>
        <p:txBody>
          <a:bodyPr/>
          <a:lstStyle/>
          <a:p>
            <a:fld id="{FA918F22-1231-AB43-96E7-2B8B890DCD5E}" type="slidenum">
              <a:rPr lang="en-US" smtClean="0"/>
              <a:pPr/>
              <a:t>63</a:t>
            </a:fld>
            <a:endParaRPr lang="en-US"/>
          </a:p>
        </p:txBody>
      </p:sp>
    </p:spTree>
    <p:extLst>
      <p:ext uri="{BB962C8B-B14F-4D97-AF65-F5344CB8AC3E}">
        <p14:creationId xmlns:p14="http://schemas.microsoft.com/office/powerpoint/2010/main" val="30408703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26097-ED35-B26C-80BB-E1BA36BED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06CBE-F45C-3F50-7A0B-44F6058516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92D5B4-736A-B5FB-5E6D-7E4194B9781E}"/>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GB" sz="1100" b="1" u="sng">
                <a:solidFill>
                  <a:schemeClr val="accent6"/>
                </a:solidFill>
                <a:latin typeface="Proximus Bold"/>
              </a:rPr>
              <a:t>ROBIN : </a:t>
            </a:r>
            <a:r>
              <a:rPr lang="en-GB" sz="1100">
                <a:solidFill>
                  <a:schemeClr val="accent6"/>
                </a:solidFill>
                <a:latin typeface="Proximus Bold"/>
              </a:rPr>
              <a:t>Hiermee </a:t>
            </a:r>
            <a:r>
              <a:rPr lang="en-GB" sz="1100" err="1">
                <a:solidFill>
                  <a:schemeClr val="accent6"/>
                </a:solidFill>
                <a:latin typeface="Proximus Bold"/>
              </a:rPr>
              <a:t>zijn</a:t>
            </a:r>
            <a:r>
              <a:rPr lang="en-GB" sz="1100">
                <a:solidFill>
                  <a:schemeClr val="accent6"/>
                </a:solidFill>
                <a:latin typeface="Proximus Bold"/>
              </a:rPr>
              <a:t> we dan </a:t>
            </a:r>
            <a:r>
              <a:rPr lang="en-GB" sz="1100" err="1">
                <a:solidFill>
                  <a:schemeClr val="accent6"/>
                </a:solidFill>
                <a:latin typeface="Proximus Bold"/>
              </a:rPr>
              <a:t>ook</a:t>
            </a:r>
            <a:r>
              <a:rPr lang="en-GB" sz="1100">
                <a:solidFill>
                  <a:schemeClr val="accent6"/>
                </a:solidFill>
                <a:latin typeface="Proximus Bold"/>
              </a:rPr>
              <a:t> </a:t>
            </a:r>
            <a:r>
              <a:rPr lang="en-GB" sz="1100" err="1">
                <a:solidFill>
                  <a:schemeClr val="accent6"/>
                </a:solidFill>
                <a:latin typeface="Proximus Bold"/>
              </a:rPr>
              <a:t>echt</a:t>
            </a:r>
            <a:r>
              <a:rPr lang="en-GB" sz="1100">
                <a:solidFill>
                  <a:schemeClr val="accent6"/>
                </a:solidFill>
                <a:latin typeface="Proximus Bold"/>
              </a:rPr>
              <a:t> </a:t>
            </a:r>
            <a:r>
              <a:rPr lang="en-GB" sz="1100" err="1">
                <a:solidFill>
                  <a:schemeClr val="accent6"/>
                </a:solidFill>
                <a:latin typeface="Proximus Bold"/>
              </a:rPr>
              <a:t>aan</a:t>
            </a:r>
            <a:r>
              <a:rPr lang="en-GB" sz="1100">
                <a:solidFill>
                  <a:schemeClr val="accent6"/>
                </a:solidFill>
                <a:latin typeface="Proximus Bold"/>
              </a:rPr>
              <a:t> het </a:t>
            </a:r>
            <a:r>
              <a:rPr lang="en-GB" sz="1100" err="1">
                <a:solidFill>
                  <a:schemeClr val="accent6"/>
                </a:solidFill>
                <a:latin typeface="Proximus Bold"/>
              </a:rPr>
              <a:t>einde</a:t>
            </a:r>
            <a:r>
              <a:rPr lang="en-GB" sz="1100">
                <a:solidFill>
                  <a:schemeClr val="accent6"/>
                </a:solidFill>
                <a:latin typeface="Proximus Bold"/>
              </a:rPr>
              <a:t> van </a:t>
            </a:r>
            <a:r>
              <a:rPr lang="en-GB" sz="1100" err="1">
                <a:solidFill>
                  <a:schemeClr val="accent6"/>
                </a:solidFill>
                <a:latin typeface="Proximus Bold"/>
              </a:rPr>
              <a:t>deze</a:t>
            </a:r>
            <a:r>
              <a:rPr lang="en-GB" sz="1100">
                <a:solidFill>
                  <a:schemeClr val="accent6"/>
                </a:solidFill>
                <a:latin typeface="Proximus Bold"/>
              </a:rPr>
              <a:t> strategy cascade. </a:t>
            </a:r>
            <a:r>
              <a:rPr lang="nl-NL" sz="1100" b="0" i="0" err="1">
                <a:solidFill>
                  <a:schemeClr val="accent6"/>
                </a:solidFill>
                <a:effectLst/>
                <a:latin typeface="Segoe UI"/>
                <a:cs typeface="Segoe UI"/>
              </a:rPr>
              <a:t>Magali</a:t>
            </a:r>
            <a:r>
              <a:rPr lang="nl-NL" sz="1100" b="0" i="0">
                <a:solidFill>
                  <a:schemeClr val="accent6"/>
                </a:solidFill>
                <a:effectLst/>
                <a:latin typeface="Segoe UI"/>
                <a:cs typeface="Segoe UI"/>
              </a:rPr>
              <a:t> en ik bedanken al onze sprekers en jullie allemaal die ons digitaal hebben gevolgd of hier aanwezig zijn in Evere. </a:t>
            </a:r>
          </a:p>
          <a:p>
            <a:pPr>
              <a:defRPr/>
            </a:pPr>
            <a:r>
              <a:rPr lang="nl-NL" sz="1100" b="1" u="sng" err="1">
                <a:solidFill>
                  <a:schemeClr val="accent6"/>
                </a:solidFill>
                <a:latin typeface="Proximus Bold"/>
              </a:rPr>
              <a:t>Magali</a:t>
            </a:r>
            <a:r>
              <a:rPr lang="nl-NL" sz="1100" b="1" u="sng">
                <a:solidFill>
                  <a:schemeClr val="accent6"/>
                </a:solidFill>
                <a:latin typeface="Proximus Bold"/>
              </a:rPr>
              <a:t>:</a:t>
            </a:r>
            <a:r>
              <a:rPr lang="nl-NL" sz="1100">
                <a:solidFill>
                  <a:schemeClr val="accent6"/>
                </a:solidFill>
                <a:latin typeface="Proximus Bold"/>
              </a:rPr>
              <a:t> En </a:t>
            </a:r>
            <a:r>
              <a:rPr lang="nl-NL" sz="1100" err="1">
                <a:solidFill>
                  <a:schemeClr val="accent6"/>
                </a:solidFill>
                <a:latin typeface="Proximus Bold"/>
              </a:rPr>
              <a:t>effet</a:t>
            </a:r>
            <a:r>
              <a:rPr lang="nl-NL" sz="1100">
                <a:solidFill>
                  <a:schemeClr val="accent6"/>
                </a:solidFill>
                <a:latin typeface="Proximus Bold"/>
              </a:rPr>
              <a:t>, </a:t>
            </a:r>
            <a:r>
              <a:rPr lang="nl-NL" sz="1100" err="1">
                <a:solidFill>
                  <a:schemeClr val="accent6"/>
                </a:solidFill>
                <a:latin typeface="Proximus Bold"/>
              </a:rPr>
              <a:t>un</a:t>
            </a:r>
            <a:r>
              <a:rPr lang="nl-NL" sz="1100">
                <a:solidFill>
                  <a:schemeClr val="accent6"/>
                </a:solidFill>
                <a:latin typeface="Proximus Bold"/>
              </a:rPr>
              <a:t> grand merci à </a:t>
            </a:r>
            <a:r>
              <a:rPr lang="nl-NL" sz="1100" err="1">
                <a:solidFill>
                  <a:schemeClr val="accent6"/>
                </a:solidFill>
                <a:latin typeface="Proximus Bold"/>
              </a:rPr>
              <a:t>tous</a:t>
            </a:r>
            <a:r>
              <a:rPr lang="nl-NL" sz="1100">
                <a:solidFill>
                  <a:schemeClr val="accent6"/>
                </a:solidFill>
                <a:latin typeface="Proximus Bold"/>
              </a:rPr>
              <a:t> </a:t>
            </a:r>
            <a:r>
              <a:rPr lang="nl-NL" sz="1100" err="1">
                <a:solidFill>
                  <a:schemeClr val="accent6"/>
                </a:solidFill>
                <a:latin typeface="Proximus Bold"/>
              </a:rPr>
              <a:t>nos</a:t>
            </a:r>
            <a:r>
              <a:rPr lang="nl-NL" sz="1100">
                <a:solidFill>
                  <a:schemeClr val="accent6"/>
                </a:solidFill>
                <a:latin typeface="Proximus Bold"/>
              </a:rPr>
              <a:t> </a:t>
            </a:r>
            <a:r>
              <a:rPr lang="nl-NL" sz="1100" err="1">
                <a:solidFill>
                  <a:schemeClr val="accent6"/>
                </a:solidFill>
                <a:latin typeface="Proximus Bold"/>
              </a:rPr>
              <a:t>intervenants</a:t>
            </a:r>
            <a:r>
              <a:rPr lang="nl-NL" sz="1100">
                <a:solidFill>
                  <a:schemeClr val="accent6"/>
                </a:solidFill>
                <a:latin typeface="Proximus Bold"/>
              </a:rPr>
              <a:t>, et à </a:t>
            </a:r>
            <a:r>
              <a:rPr lang="nl-NL" sz="1100" err="1">
                <a:solidFill>
                  <a:schemeClr val="accent6"/>
                </a:solidFill>
                <a:latin typeface="Proximus Bold"/>
              </a:rPr>
              <a:t>vous</a:t>
            </a:r>
            <a:r>
              <a:rPr lang="nl-NL" sz="1100">
                <a:solidFill>
                  <a:schemeClr val="accent6"/>
                </a:solidFill>
                <a:latin typeface="Proximus Bold"/>
              </a:rPr>
              <a:t> </a:t>
            </a:r>
            <a:r>
              <a:rPr lang="nl-NL" sz="1100" err="1">
                <a:solidFill>
                  <a:schemeClr val="accent6"/>
                </a:solidFill>
                <a:latin typeface="Proximus Bold"/>
              </a:rPr>
              <a:t>toutes</a:t>
            </a:r>
            <a:r>
              <a:rPr lang="nl-NL" sz="1100">
                <a:solidFill>
                  <a:schemeClr val="accent6"/>
                </a:solidFill>
                <a:latin typeface="Proximus Bold"/>
              </a:rPr>
              <a:t> et </a:t>
            </a:r>
            <a:r>
              <a:rPr lang="nl-NL" sz="1100" err="1">
                <a:solidFill>
                  <a:schemeClr val="accent6"/>
                </a:solidFill>
                <a:latin typeface="Proximus Bold"/>
              </a:rPr>
              <a:t>tous</a:t>
            </a:r>
            <a:r>
              <a:rPr lang="nl-NL" sz="1100">
                <a:solidFill>
                  <a:schemeClr val="accent6"/>
                </a:solidFill>
                <a:latin typeface="Proximus Bold"/>
              </a:rPr>
              <a:t> de </a:t>
            </a:r>
            <a:r>
              <a:rPr lang="nl-NL" sz="1100" err="1">
                <a:solidFill>
                  <a:schemeClr val="accent6"/>
                </a:solidFill>
                <a:latin typeface="Proximus Bold"/>
              </a:rPr>
              <a:t>nous</a:t>
            </a:r>
            <a:r>
              <a:rPr lang="nl-NL" sz="1100">
                <a:solidFill>
                  <a:schemeClr val="accent6"/>
                </a:solidFill>
                <a:latin typeface="Proximus Bold"/>
              </a:rPr>
              <a:t> </a:t>
            </a:r>
            <a:r>
              <a:rPr lang="nl-NL" sz="1100" err="1">
                <a:solidFill>
                  <a:schemeClr val="accent6"/>
                </a:solidFill>
                <a:latin typeface="Proximus Bold"/>
              </a:rPr>
              <a:t>avoir</a:t>
            </a:r>
            <a:r>
              <a:rPr lang="nl-NL" sz="1100">
                <a:solidFill>
                  <a:schemeClr val="accent6"/>
                </a:solidFill>
                <a:latin typeface="Proximus Bold"/>
              </a:rPr>
              <a:t> </a:t>
            </a:r>
            <a:r>
              <a:rPr lang="nl-NL" sz="1100" err="1">
                <a:solidFill>
                  <a:schemeClr val="accent6"/>
                </a:solidFill>
                <a:latin typeface="Proximus Bold"/>
              </a:rPr>
              <a:t>suivis</a:t>
            </a:r>
            <a:r>
              <a:rPr lang="nl-NL" sz="1100">
                <a:solidFill>
                  <a:schemeClr val="accent6"/>
                </a:solidFill>
                <a:latin typeface="Proximus Bold"/>
              </a:rPr>
              <a:t>, </a:t>
            </a:r>
            <a:r>
              <a:rPr lang="nl-NL" sz="1100" err="1">
                <a:solidFill>
                  <a:schemeClr val="accent6"/>
                </a:solidFill>
                <a:latin typeface="Proximus Bold"/>
              </a:rPr>
              <a:t>ici</a:t>
            </a:r>
            <a:r>
              <a:rPr lang="nl-NL" sz="1100">
                <a:solidFill>
                  <a:schemeClr val="accent6"/>
                </a:solidFill>
                <a:latin typeface="Proximus Bold"/>
              </a:rPr>
              <a:t> à Evere </a:t>
            </a:r>
            <a:r>
              <a:rPr lang="nl-NL" sz="1100" err="1">
                <a:solidFill>
                  <a:schemeClr val="accent6"/>
                </a:solidFill>
                <a:latin typeface="Proximus Bold"/>
              </a:rPr>
              <a:t>ou</a:t>
            </a:r>
            <a:r>
              <a:rPr lang="nl-NL" sz="1100">
                <a:solidFill>
                  <a:schemeClr val="accent6"/>
                </a:solidFill>
                <a:latin typeface="Proximus Bold"/>
              </a:rPr>
              <a:t> </a:t>
            </a:r>
            <a:r>
              <a:rPr lang="nl-NL" sz="1100" err="1">
                <a:solidFill>
                  <a:schemeClr val="accent6"/>
                </a:solidFill>
                <a:latin typeface="Proximus Bold"/>
              </a:rPr>
              <a:t>depuis</a:t>
            </a:r>
            <a:r>
              <a:rPr lang="nl-NL" sz="1100">
                <a:solidFill>
                  <a:schemeClr val="accent6"/>
                </a:solidFill>
                <a:latin typeface="Proximus Bold"/>
              </a:rPr>
              <a:t> </a:t>
            </a:r>
            <a:r>
              <a:rPr lang="nl-NL" sz="1100" err="1">
                <a:solidFill>
                  <a:schemeClr val="accent6"/>
                </a:solidFill>
                <a:latin typeface="Proximus Bold"/>
              </a:rPr>
              <a:t>chez</a:t>
            </a:r>
            <a:r>
              <a:rPr lang="nl-NL" sz="1100">
                <a:solidFill>
                  <a:schemeClr val="accent6"/>
                </a:solidFill>
                <a:latin typeface="Proximus Bold"/>
              </a:rPr>
              <a:t> </a:t>
            </a:r>
            <a:r>
              <a:rPr lang="nl-NL" sz="1100" err="1">
                <a:solidFill>
                  <a:schemeClr val="accent6"/>
                </a:solidFill>
                <a:latin typeface="Proximus Bold"/>
              </a:rPr>
              <a:t>vous</a:t>
            </a:r>
            <a:r>
              <a:rPr lang="nl-NL" sz="1100">
                <a:solidFill>
                  <a:schemeClr val="accent6"/>
                </a:solidFill>
                <a:latin typeface="Proximus Bold"/>
              </a:rPr>
              <a:t>.</a:t>
            </a:r>
          </a:p>
          <a:p>
            <a:pPr>
              <a:defRPr/>
            </a:pPr>
            <a:endParaRPr lang="nl-NL" sz="1100">
              <a:solidFill>
                <a:schemeClr val="accent6"/>
              </a:solidFill>
              <a:latin typeface="Proximus Bold"/>
            </a:endParaRPr>
          </a:p>
          <a:p>
            <a:pPr>
              <a:defRPr/>
            </a:pPr>
            <a:r>
              <a:rPr lang="nl-NL" sz="1100" b="1" u="sng">
                <a:solidFill>
                  <a:schemeClr val="accent6"/>
                </a:solidFill>
                <a:latin typeface="Proximus Bold"/>
              </a:rPr>
              <a:t>Robin:</a:t>
            </a:r>
            <a:r>
              <a:rPr lang="nl-NL" sz="1100" b="1" u="sng">
                <a:solidFill>
                  <a:schemeClr val="accent6"/>
                </a:solidFill>
                <a:latin typeface="Proximus Bold"/>
                <a:cs typeface="Segoe UI"/>
              </a:rPr>
              <a:t> </a:t>
            </a:r>
            <a:r>
              <a:rPr lang="nl-NL" sz="1100">
                <a:solidFill>
                  <a:schemeClr val="accent6"/>
                </a:solidFill>
                <a:latin typeface="Segoe UI"/>
                <a:cs typeface="Segoe UI"/>
              </a:rPr>
              <a:t>Geert, ik laat jou deze sessie afsluiten…</a:t>
            </a:r>
            <a:endParaRPr lang="nl-NL" sz="1100" b="1" u="sng">
              <a:solidFill>
                <a:schemeClr val="accent6"/>
              </a:solidFill>
              <a:latin typeface="Proximus Bold"/>
              <a:cs typeface="Segoe UI"/>
            </a:endParaRPr>
          </a:p>
          <a:p>
            <a:endParaRPr lang="en-GB" sz="1100" b="1" u="sng">
              <a:solidFill>
                <a:schemeClr val="accent6"/>
              </a:solidFill>
              <a:latin typeface="Proximus Bold"/>
            </a:endParaRPr>
          </a:p>
          <a:p>
            <a:r>
              <a:rPr lang="en-GB" sz="1100" b="1" u="sng">
                <a:solidFill>
                  <a:schemeClr val="accent6"/>
                </a:solidFill>
                <a:latin typeface="Proximus Bold"/>
              </a:rPr>
              <a:t>GEERT</a:t>
            </a:r>
            <a:r>
              <a:rPr lang="en-GB" sz="1100">
                <a:solidFill>
                  <a:schemeClr val="accent6"/>
                </a:solidFill>
                <a:latin typeface="Proximus Bold"/>
              </a:rPr>
              <a:t> (NL) : </a:t>
            </a:r>
            <a:r>
              <a:rPr lang="en-GB" sz="1100" err="1">
                <a:solidFill>
                  <a:schemeClr val="accent6"/>
                </a:solidFill>
                <a:latin typeface="Proximus Bold"/>
              </a:rPr>
              <a:t>Bedankt</a:t>
            </a:r>
            <a:r>
              <a:rPr lang="en-GB" sz="1100">
                <a:solidFill>
                  <a:schemeClr val="accent6"/>
                </a:solidFill>
                <a:latin typeface="Proximus Bold"/>
              </a:rPr>
              <a:t> Robin (IMPRO) ….. and I invite people in </a:t>
            </a:r>
            <a:r>
              <a:rPr lang="en-GB" sz="1100" err="1">
                <a:solidFill>
                  <a:schemeClr val="accent6"/>
                </a:solidFill>
                <a:latin typeface="Proximus Bold"/>
              </a:rPr>
              <a:t>Evere</a:t>
            </a:r>
            <a:r>
              <a:rPr lang="en-GB" sz="1100">
                <a:solidFill>
                  <a:schemeClr val="accent6"/>
                </a:solidFill>
                <a:latin typeface="Proximus Bold"/>
              </a:rPr>
              <a:t> to join us in the Lounge to take a drink together ;-)</a:t>
            </a:r>
          </a:p>
          <a:p>
            <a:endParaRPr lang="en-GB" sz="1100">
              <a:solidFill>
                <a:schemeClr val="accent6"/>
              </a:solidFill>
              <a:latin typeface="Proximus Bold"/>
            </a:endParaRPr>
          </a:p>
          <a:p>
            <a:r>
              <a:rPr lang="en-GB" sz="1100" b="1">
                <a:solidFill>
                  <a:schemeClr val="accent6"/>
                </a:solidFill>
                <a:latin typeface="Proximus Bold"/>
              </a:rPr>
              <a:t>Closing – stop streaming</a:t>
            </a:r>
            <a:endParaRPr lang="en-GB" sz="1100" b="1">
              <a:solidFill>
                <a:schemeClr val="accent6"/>
              </a:solidFill>
            </a:endParaRPr>
          </a:p>
        </p:txBody>
      </p:sp>
      <p:sp>
        <p:nvSpPr>
          <p:cNvPr id="4" name="Slide Number Placeholder 3">
            <a:extLst>
              <a:ext uri="{FF2B5EF4-FFF2-40B4-BE49-F238E27FC236}">
                <a16:creationId xmlns:a16="http://schemas.microsoft.com/office/drawing/2014/main" id="{293081FF-2A18-8A08-9D39-FD7DC3E64A77}"/>
              </a:ext>
            </a:extLst>
          </p:cNvPr>
          <p:cNvSpPr>
            <a:spLocks noGrp="1"/>
          </p:cNvSpPr>
          <p:nvPr>
            <p:ph type="sldNum" sz="quarter" idx="5"/>
          </p:nvPr>
        </p:nvSpPr>
        <p:spPr/>
        <p:txBody>
          <a:bodyPr/>
          <a:lstStyle/>
          <a:p>
            <a:fld id="{FA918F22-1231-AB43-96E7-2B8B890DCD5E}" type="slidenum">
              <a:rPr lang="en-US" smtClean="0"/>
              <a:pPr/>
              <a:t>64</a:t>
            </a:fld>
            <a:endParaRPr lang="en-US"/>
          </a:p>
        </p:txBody>
      </p:sp>
    </p:spTree>
    <p:extLst>
      <p:ext uri="{BB962C8B-B14F-4D97-AF65-F5344CB8AC3E}">
        <p14:creationId xmlns:p14="http://schemas.microsoft.com/office/powerpoint/2010/main" val="1965225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971E0-8D44-3B6D-0C6D-66B4396BA9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4D44EF-33FE-2F9E-D0F6-6503738D0B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80F74-7D48-0DE0-71B8-13779F13CABB}"/>
              </a:ext>
            </a:extLst>
          </p:cNvPr>
          <p:cNvSpPr>
            <a:spLocks noGrp="1"/>
          </p:cNvSpPr>
          <p:nvPr>
            <p:ph type="body" idx="1"/>
          </p:nvPr>
        </p:nvSpPr>
        <p:spPr/>
        <p:txBody>
          <a:bodyPr/>
          <a:lstStyle/>
          <a:p>
            <a:r>
              <a:rPr lang="en-US" sz="1100" b="1">
                <a:solidFill>
                  <a:schemeClr val="accent6"/>
                </a:solidFill>
              </a:rPr>
              <a:t>MAGALI &amp; ROBIN </a:t>
            </a:r>
            <a:r>
              <a:rPr lang="en-US" sz="1100">
                <a:solidFill>
                  <a:schemeClr val="accent6"/>
                </a:solidFill>
              </a:rPr>
              <a:t>on stage</a:t>
            </a:r>
            <a:endParaRPr lang="fr-BE" sz="1100">
              <a:solidFill>
                <a:schemeClr val="accent6"/>
              </a:solidFill>
            </a:endParaRPr>
          </a:p>
        </p:txBody>
      </p:sp>
      <p:sp>
        <p:nvSpPr>
          <p:cNvPr id="4" name="Slide Number Placeholder 3">
            <a:extLst>
              <a:ext uri="{FF2B5EF4-FFF2-40B4-BE49-F238E27FC236}">
                <a16:creationId xmlns:a16="http://schemas.microsoft.com/office/drawing/2014/main" id="{3473391D-B4AD-F786-B8FC-B4715CDE8C7A}"/>
              </a:ext>
            </a:extLst>
          </p:cNvPr>
          <p:cNvSpPr>
            <a:spLocks noGrp="1"/>
          </p:cNvSpPr>
          <p:nvPr>
            <p:ph type="sldNum" sz="quarter" idx="5"/>
          </p:nvPr>
        </p:nvSpPr>
        <p:spPr/>
        <p:txBody>
          <a:bodyPr/>
          <a:lstStyle/>
          <a:p>
            <a:fld id="{FA918F22-1231-AB43-96E7-2B8B890DCD5E}" type="slidenum">
              <a:rPr lang="en-US" smtClean="0"/>
              <a:pPr/>
              <a:t>65</a:t>
            </a:fld>
            <a:endParaRPr lang="en-US"/>
          </a:p>
        </p:txBody>
      </p:sp>
    </p:spTree>
    <p:extLst>
      <p:ext uri="{BB962C8B-B14F-4D97-AF65-F5344CB8AC3E}">
        <p14:creationId xmlns:p14="http://schemas.microsoft.com/office/powerpoint/2010/main" val="2334331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4400" b="0" dirty="0" err="1">
                <a:solidFill>
                  <a:schemeClr val="tx1"/>
                </a:solidFill>
                <a:latin typeface="Proximus Light" pitchFamily="2" charset="77"/>
              </a:rPr>
              <a:t>Achievements</a:t>
            </a:r>
            <a:r>
              <a:rPr lang="fr-FR" sz="4400" b="0" dirty="0">
                <a:solidFill>
                  <a:schemeClr val="tx1"/>
                </a:solidFill>
                <a:latin typeface="Proximus Light" pitchFamily="2" charset="77"/>
              </a:rPr>
              <a:t> </a:t>
            </a:r>
            <a:r>
              <a:rPr lang="fr-FR" sz="4400" b="0" dirty="0" err="1">
                <a:solidFill>
                  <a:schemeClr val="tx1"/>
                </a:solidFill>
                <a:latin typeface="Proximus Light" pitchFamily="2" charset="77"/>
              </a:rPr>
              <a:t>video</a:t>
            </a:r>
            <a:br>
              <a:rPr lang="fr-FR" sz="4400" b="0" dirty="0">
                <a:solidFill>
                  <a:schemeClr val="tx1"/>
                </a:solidFill>
                <a:latin typeface="Proximus Light" pitchFamily="2" charset="77"/>
              </a:rPr>
            </a:br>
            <a:r>
              <a:rPr lang="fr-FR" sz="4400" b="0" dirty="0">
                <a:solidFill>
                  <a:schemeClr val="tx1"/>
                </a:solidFill>
                <a:latin typeface="Proximus Light" pitchFamily="2" charset="77"/>
              </a:rPr>
              <a:t>PART1</a:t>
            </a:r>
            <a:endParaRPr lang="en-US" sz="1100" b="1"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7</a:t>
            </a:fld>
            <a:endParaRPr lang="en-US"/>
          </a:p>
        </p:txBody>
      </p:sp>
    </p:spTree>
    <p:extLst>
      <p:ext uri="{BB962C8B-B14F-4D97-AF65-F5344CB8AC3E}">
        <p14:creationId xmlns:p14="http://schemas.microsoft.com/office/powerpoint/2010/main" val="3276822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F6649-96D3-2059-3E30-99BA89C204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8AF7D-35D9-D187-96A0-0AC482B0EE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ED3EE-64BF-F672-6A12-4671CEF04379}"/>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  </a:t>
            </a:r>
            <a:r>
              <a:rPr lang="en-US" sz="1100" b="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NL) </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bout the video) :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aouw</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ndrukwekkend</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roficia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llemaa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nkuw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ks</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ijk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aa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he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weed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e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ant e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e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rwezenlijkingen</a:t>
            </a: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 </a:t>
            </a:r>
            <a:r>
              <a:rPr lang="nl-NL" sz="1100" b="0" i="0">
                <a:solidFill>
                  <a:schemeClr val="accent6"/>
                </a:solidFill>
                <a:effectLst/>
                <a:latin typeface="Proximus" panose="00000500000000000000" pitchFamily="2" charset="0"/>
              </a:rPr>
              <a:t>Geert, na een moment van reflectie en achteruitkijken denk ik dat het nu tijd is om naar de toekomst te kijken. Te beginnen met 2025, een jaar vol uitdagingen?</a:t>
            </a:r>
          </a:p>
          <a:p>
            <a:pPr marL="0" marR="0" lvl="0" indent="0" algn="l" defTabSz="411480" rtl="0" eaLnBrk="1" fontAlgn="auto" latinLnBrk="0" hangingPunct="1">
              <a:lnSpc>
                <a:spcPct val="100000"/>
              </a:lnSpc>
              <a:spcBef>
                <a:spcPts val="0"/>
              </a:spcBef>
              <a:spcAft>
                <a:spcPts val="0"/>
              </a:spcAft>
              <a:buClrTx/>
              <a:buSzTx/>
              <a:buFontTx/>
              <a:buNone/>
              <a:tabLst/>
              <a:defRPr/>
            </a:pPr>
            <a:endParaRPr lang="nl-NL" sz="1100" b="0" i="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N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nderdaad</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Robin, het is h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laats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bold2025… maa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olan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2025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f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old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aar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oe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szelf</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berei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p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end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yclu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oe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l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oekoms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namelij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uitdaging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i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ach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aa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en-BE" sz="1100">
              <a:solidFill>
                <a:schemeClr val="accent6"/>
              </a:solidFill>
              <a:latin typeface="Proximus" panose="00000500000000000000" pitchFamily="2" charset="0"/>
            </a:endParaRPr>
          </a:p>
          <a:p>
            <a:endParaRPr lang="en-BE">
              <a:solidFill>
                <a:schemeClr val="accent6"/>
              </a:solidFill>
            </a:endParaRPr>
          </a:p>
        </p:txBody>
      </p:sp>
      <p:sp>
        <p:nvSpPr>
          <p:cNvPr id="4" name="Slide Number Placeholder 3">
            <a:extLst>
              <a:ext uri="{FF2B5EF4-FFF2-40B4-BE49-F238E27FC236}">
                <a16:creationId xmlns:a16="http://schemas.microsoft.com/office/drawing/2014/main" id="{D2308F3C-A9AF-EA7E-C313-61C7336D9972}"/>
              </a:ext>
            </a:extLst>
          </p:cNvPr>
          <p:cNvSpPr>
            <a:spLocks noGrp="1"/>
          </p:cNvSpPr>
          <p:nvPr>
            <p:ph type="sldNum" sz="quarter" idx="5"/>
          </p:nvPr>
        </p:nvSpPr>
        <p:spPr/>
        <p:txBody>
          <a:bodyPr/>
          <a:lstStyle/>
          <a:p>
            <a:fld id="{FA918F22-1231-AB43-96E7-2B8B890DCD5E}" type="slidenum">
              <a:rPr lang="en-US" smtClean="0"/>
              <a:pPr/>
              <a:t>8</a:t>
            </a:fld>
            <a:endParaRPr lang="en-US"/>
          </a:p>
        </p:txBody>
      </p:sp>
    </p:spTree>
    <p:extLst>
      <p:ext uri="{BB962C8B-B14F-4D97-AF65-F5344CB8AC3E}">
        <p14:creationId xmlns:p14="http://schemas.microsoft.com/office/powerpoint/2010/main" val="735785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E1B61-CB52-FC3E-F61F-A60C02EFA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55C52-B1BB-0446-8FE6-C86F46F5F6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45BA4-3525-0BA4-0ABF-41689534422F}"/>
              </a:ext>
            </a:extLst>
          </p:cNvPr>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ON STAGE </a:t>
            </a:r>
          </a:p>
          <a:p>
            <a:pPr>
              <a:lnSpc>
                <a:spcPct val="107000"/>
              </a:lnSpc>
              <a:spcAft>
                <a:spcPts val="800"/>
              </a:spcAft>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MIX NL &amp; FR]</a:t>
            </a:r>
          </a:p>
          <a:p>
            <a:pPr>
              <a:lnSpc>
                <a:spcPct val="107000"/>
              </a:lnSpc>
              <a:spcAft>
                <a:spcPts val="800"/>
              </a:spcAft>
            </a:pP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NL) W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uitdagend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contex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erk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om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oo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kel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externe, maa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ok</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tern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randeringen</a:t>
            </a: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a:lnSpc>
                <a:spcPct val="107000"/>
              </a:lnSpc>
              <a:spcAft>
                <a:spcPts val="800"/>
              </a:spcAft>
            </a:pP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External</a:t>
            </a:r>
          </a:p>
          <a:p>
            <a:pPr marL="171450" indent="-171450">
              <a:lnSpc>
                <a:spcPct val="107000"/>
              </a:lnSpc>
              <a:spcAft>
                <a:spcPts val="800"/>
              </a:spcAft>
              <a:buFont typeface="Arial" panose="020B0604020202020204" pitchFamily="34" charset="0"/>
              <a:buChar char="•"/>
            </a:pPr>
            <a:r>
              <a:rPr lang="en-US" sz="1100" b="1">
                <a:solidFill>
                  <a:schemeClr val="accent6"/>
                </a:solidFill>
                <a:latin typeface="Proximus Bold" panose="00000500000000000000" pitchFamily="2" charset="0"/>
              </a:rPr>
              <a:t>Competition</a:t>
            </a:r>
            <a:r>
              <a:rPr lang="en-US" sz="1100">
                <a:solidFill>
                  <a:schemeClr val="accent6"/>
                </a:solidFill>
                <a:latin typeface="Proximus" panose="00000500000000000000" pitchFamily="2" charset="0"/>
              </a:rPr>
              <a:t>: DIGI </a:t>
            </a:r>
            <a:r>
              <a:rPr lang="en-US" sz="1100" err="1">
                <a:solidFill>
                  <a:schemeClr val="accent6"/>
                </a:solidFill>
                <a:latin typeface="Proximus" panose="00000500000000000000" pitchFamily="2" charset="0"/>
              </a:rPr>
              <a:t>heeft</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mark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tred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ie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kel</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lag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rijzen</a:t>
            </a:r>
            <a:r>
              <a:rPr lang="en-US" sz="1100">
                <a:solidFill>
                  <a:schemeClr val="accent6"/>
                </a:solidFill>
                <a:latin typeface="Proximus" panose="00000500000000000000" pitchFamily="2" charset="0"/>
              </a:rPr>
              <a:t> op </a:t>
            </a:r>
            <a:r>
              <a:rPr lang="en-US" sz="1100" err="1">
                <a:solidFill>
                  <a:schemeClr val="accent6"/>
                </a:solidFill>
                <a:latin typeface="Proximus" panose="00000500000000000000" pitchFamily="2" charset="0"/>
              </a:rPr>
              <a:t>mobiel</a:t>
            </a:r>
            <a:r>
              <a:rPr lang="en-US" sz="1100">
                <a:solidFill>
                  <a:schemeClr val="accent6"/>
                </a:solidFill>
                <a:latin typeface="Proximus" panose="00000500000000000000" pitchFamily="2" charset="0"/>
              </a:rPr>
              <a:t>, maar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anier</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uitrollen</a:t>
            </a:r>
            <a:r>
              <a:rPr lang="en-US" sz="1100">
                <a:solidFill>
                  <a:schemeClr val="accent6"/>
                </a:solidFill>
                <a:latin typeface="Proximus" panose="00000500000000000000" pitchFamily="2" charset="0"/>
              </a:rPr>
              <a:t> van Fiber. We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r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or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at</a:t>
            </a:r>
            <a:r>
              <a:rPr lang="en-US" sz="1100">
                <a:solidFill>
                  <a:schemeClr val="accent6"/>
                </a:solidFill>
                <a:latin typeface="Proximus" panose="00000500000000000000" pitchFamily="2" charset="0"/>
              </a:rPr>
              <a:t> we de </a:t>
            </a:r>
            <a:r>
              <a:rPr lang="en-US" sz="1100" err="1">
                <a:solidFill>
                  <a:schemeClr val="accent6"/>
                </a:solidFill>
                <a:latin typeface="Proximus" panose="00000500000000000000" pitchFamily="2" charset="0"/>
              </a:rPr>
              <a:t>politie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wustmaken</a:t>
            </a:r>
            <a:r>
              <a:rPr lang="en-US" sz="1100">
                <a:solidFill>
                  <a:schemeClr val="accent6"/>
                </a:solidFill>
                <a:latin typeface="Proximus" panose="00000500000000000000" pitchFamily="2" charset="0"/>
              </a:rPr>
              <a:t> van de </a:t>
            </a:r>
            <a:r>
              <a:rPr lang="en-US" sz="1100" err="1">
                <a:solidFill>
                  <a:schemeClr val="accent6"/>
                </a:solidFill>
                <a:latin typeface="Proximus" panose="00000500000000000000" pitchFamily="2" charset="0"/>
              </a:rPr>
              <a:t>mogelijk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consequenties</a:t>
            </a:r>
            <a:r>
              <a:rPr lang="en-US" sz="1100">
                <a:solidFill>
                  <a:schemeClr val="accent6"/>
                </a:solidFill>
                <a:latin typeface="Proximus" panose="00000500000000000000" pitchFamily="2" charset="0"/>
              </a:rPr>
              <a:t>, maar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adenken</a:t>
            </a:r>
            <a:r>
              <a:rPr lang="en-US" sz="1100">
                <a:solidFill>
                  <a:schemeClr val="accent6"/>
                </a:solidFill>
                <a:latin typeface="Proximus" panose="00000500000000000000" pitchFamily="2" charset="0"/>
              </a:rPr>
              <a:t> over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kosten</a:t>
            </a:r>
            <a:r>
              <a:rPr lang="en-US" sz="1100">
                <a:solidFill>
                  <a:schemeClr val="accent6"/>
                </a:solidFill>
                <a:latin typeface="Proximus" panose="00000500000000000000" pitchFamily="2" charset="0"/>
              </a:rPr>
              <a:t>-model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anieren</a:t>
            </a:r>
            <a:r>
              <a:rPr lang="en-US" sz="1100">
                <a:solidFill>
                  <a:schemeClr val="accent6"/>
                </a:solidFill>
                <a:latin typeface="Proximus" panose="00000500000000000000" pitchFamily="2" charset="0"/>
              </a:rPr>
              <a:t> om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eigen </a:t>
            </a:r>
            <a:r>
              <a:rPr lang="en-US" sz="1100" err="1">
                <a:solidFill>
                  <a:schemeClr val="accent6"/>
                </a:solidFill>
                <a:latin typeface="Proximus" panose="00000500000000000000" pitchFamily="2" charset="0"/>
              </a:rPr>
              <a:t>manier</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uitro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ruitvinden</a:t>
            </a:r>
            <a:r>
              <a:rPr lang="en-US" sz="1100">
                <a:solidFill>
                  <a:schemeClr val="accent6"/>
                </a:solidFill>
                <a:latin typeface="Proximus" panose="00000500000000000000" pitchFamily="2" charset="0"/>
              </a:rPr>
              <a:t>.</a:t>
            </a:r>
          </a:p>
          <a:p>
            <a:pPr marL="171450" marR="0" lvl="0" indent="-171450" algn="l" defTabSz="41148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100" b="1">
                <a:solidFill>
                  <a:schemeClr val="accent6"/>
                </a:solidFill>
                <a:latin typeface="Proximus Bold" panose="00000500000000000000" pitchFamily="2" charset="0"/>
              </a:rPr>
              <a:t>Collaboratio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is er </a:t>
            </a:r>
            <a:r>
              <a:rPr lang="en-US" sz="1100" err="1">
                <a:solidFill>
                  <a:schemeClr val="accent6"/>
                </a:solidFill>
                <a:latin typeface="Proximus" panose="00000500000000000000" pitchFamily="2" charset="0"/>
              </a:rPr>
              <a:t>natuurlij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og</a:t>
            </a:r>
            <a:r>
              <a:rPr lang="en-US" sz="1100">
                <a:solidFill>
                  <a:schemeClr val="accent6"/>
                </a:solidFill>
                <a:latin typeface="Proximus" panose="00000500000000000000" pitchFamily="2" charset="0"/>
              </a:rPr>
              <a:t> steeds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rote</a:t>
            </a:r>
            <a:r>
              <a:rPr lang="en-US" sz="1100">
                <a:solidFill>
                  <a:schemeClr val="accent6"/>
                </a:solidFill>
                <a:latin typeface="Proximus" panose="00000500000000000000" pitchFamily="2" charset="0"/>
              </a:rPr>
              <a:t> focus </a:t>
            </a:r>
            <a:r>
              <a:rPr lang="en-US" sz="1100" err="1">
                <a:solidFill>
                  <a:schemeClr val="accent6"/>
                </a:solidFill>
                <a:latin typeface="Proximus" panose="00000500000000000000" pitchFamily="2" charset="0"/>
              </a:rPr>
              <a:t>nodig</a:t>
            </a:r>
            <a:r>
              <a:rPr lang="en-US" sz="1100">
                <a:solidFill>
                  <a:schemeClr val="accent6"/>
                </a:solidFill>
                <a:latin typeface="Proximus" panose="00000500000000000000" pitchFamily="2" charset="0"/>
              </a:rPr>
              <a:t> op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egotiatie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bereidi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otentiel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amenwerkingen</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peratoren</a:t>
            </a:r>
            <a:r>
              <a:rPr lang="en-US" sz="1100">
                <a:solidFill>
                  <a:schemeClr val="accent6"/>
                </a:solidFill>
                <a:latin typeface="Proximus" panose="00000500000000000000" pitchFamily="2" charset="0"/>
              </a:rPr>
              <a:t> in de </a:t>
            </a:r>
            <a:r>
              <a:rPr lang="en-US" sz="1100" err="1">
                <a:solidFill>
                  <a:schemeClr val="accent6"/>
                </a:solidFill>
                <a:latin typeface="Proximus" panose="00000500000000000000" pitchFamily="2" charset="0"/>
              </a:rPr>
              <a:t>toekoms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lijf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cruci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mdat</a:t>
            </a:r>
            <a:r>
              <a:rPr lang="en-US" sz="1100">
                <a:solidFill>
                  <a:schemeClr val="accent6"/>
                </a:solidFill>
                <a:latin typeface="Proximus" panose="00000500000000000000" pitchFamily="2" charset="0"/>
              </a:rPr>
              <a:t> het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oel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neller</a:t>
            </a:r>
            <a:r>
              <a:rPr lang="en-US" sz="1100">
                <a:solidFill>
                  <a:schemeClr val="accent6"/>
                </a:solidFill>
                <a:latin typeface="Proximus" panose="00000500000000000000" pitchFamily="2" charset="0"/>
              </a:rPr>
              <a:t> fiber </a:t>
            </a:r>
            <a:r>
              <a:rPr lang="en-US" sz="1100" err="1">
                <a:solidFill>
                  <a:schemeClr val="accent6"/>
                </a:solidFill>
                <a:latin typeface="Proximus" panose="00000500000000000000" pitchFamily="2" charset="0"/>
              </a:rPr>
              <a:t>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uitroll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tot </a:t>
            </a:r>
            <a:r>
              <a:rPr lang="en-US" sz="1100" err="1">
                <a:solidFill>
                  <a:schemeClr val="accent6"/>
                </a:solidFill>
                <a:latin typeface="Proximus" panose="00000500000000000000" pitchFamily="2" charset="0"/>
              </a:rPr>
              <a:t>diep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uithoeken</a:t>
            </a:r>
            <a:r>
              <a:rPr lang="en-US" sz="1100">
                <a:solidFill>
                  <a:schemeClr val="accent6"/>
                </a:solidFill>
                <a:latin typeface="Proximus" panose="00000500000000000000" pitchFamily="2" charset="0"/>
              </a:rPr>
              <a:t> van het land.</a:t>
            </a:r>
          </a:p>
          <a:p>
            <a:pPr marL="171450" marR="0" lvl="0" indent="-171450" algn="l" defTabSz="41148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100" b="1">
                <a:solidFill>
                  <a:schemeClr val="accent6"/>
                </a:solidFill>
                <a:latin typeface="Proximus Bold" panose="00000500000000000000" pitchFamily="2" charset="0"/>
              </a:rPr>
              <a:t>Coax</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ier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erelateer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ullen</a:t>
            </a:r>
            <a:r>
              <a:rPr lang="en-US" sz="1100">
                <a:solidFill>
                  <a:schemeClr val="accent6"/>
                </a:solidFill>
                <a:latin typeface="Proximus" panose="00000500000000000000" pitchFamily="2" charset="0"/>
              </a:rPr>
              <a:t> we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bereiden</a:t>
            </a:r>
            <a:r>
              <a:rPr lang="en-US" sz="1100">
                <a:solidFill>
                  <a:schemeClr val="accent6"/>
                </a:solidFill>
                <a:latin typeface="Proximus" panose="00000500000000000000" pitchFamily="2" charset="0"/>
              </a:rPr>
              <a:t> op de </a:t>
            </a:r>
            <a:r>
              <a:rPr lang="en-US" sz="1100" err="1">
                <a:solidFill>
                  <a:schemeClr val="accent6"/>
                </a:solidFill>
                <a:latin typeface="Proximus" panose="00000500000000000000" pitchFamily="2" charset="0"/>
              </a:rPr>
              <a:t>komst</a:t>
            </a:r>
            <a:r>
              <a:rPr lang="en-US" sz="1100">
                <a:solidFill>
                  <a:schemeClr val="accent6"/>
                </a:solidFill>
                <a:latin typeface="Proximus" panose="00000500000000000000" pitchFamily="2" charset="0"/>
              </a:rPr>
              <a:t> van Coax.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is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ot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ieuw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chnolog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die </a:t>
            </a:r>
            <a:r>
              <a:rPr lang="en-US" sz="1100" err="1">
                <a:solidFill>
                  <a:schemeClr val="accent6"/>
                </a:solidFill>
                <a:latin typeface="Proximus" panose="00000500000000000000" pitchFamily="2" charset="0"/>
              </a:rPr>
              <a:t>nieuwe</a:t>
            </a:r>
            <a:r>
              <a:rPr lang="en-US" sz="1100">
                <a:solidFill>
                  <a:schemeClr val="accent6"/>
                </a:solidFill>
                <a:latin typeface="Proximus" panose="00000500000000000000" pitchFamily="2" charset="0"/>
              </a:rPr>
              <a:t> type van </a:t>
            </a:r>
            <a:r>
              <a:rPr lang="en-US" sz="1100" err="1">
                <a:solidFill>
                  <a:schemeClr val="accent6"/>
                </a:solidFill>
                <a:latin typeface="Proximus" panose="00000500000000000000" pitchFamily="2" charset="0"/>
              </a:rPr>
              <a:t>oplossingen</a:t>
            </a:r>
            <a:r>
              <a:rPr lang="en-US" sz="1100">
                <a:solidFill>
                  <a:schemeClr val="accent6"/>
                </a:solidFill>
                <a:latin typeface="Proximus" panose="00000500000000000000" pitchFamily="2" charset="0"/>
              </a:rPr>
              <a:t>, IT </a:t>
            </a:r>
            <a:r>
              <a:rPr lang="en-US" sz="1100" err="1">
                <a:solidFill>
                  <a:schemeClr val="accent6"/>
                </a:solidFill>
                <a:latin typeface="Proximus" panose="00000500000000000000" pitchFamily="2" charset="0"/>
              </a:rPr>
              <a:t>ontwikkeli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roces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erei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die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llem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shift in mindse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ereisen</a:t>
            </a:r>
            <a:endParaRPr lang="en-US" sz="1100">
              <a:solidFill>
                <a:schemeClr val="accent6"/>
              </a:solidFill>
              <a:latin typeface="Proximus" panose="00000500000000000000" pitchFamily="2" charset="0"/>
            </a:endParaRPr>
          </a:p>
          <a:p>
            <a:pPr marL="0" marR="0" lvl="0" indent="0" algn="l" defTabSz="41148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100">
                <a:solidFill>
                  <a:schemeClr val="accent6"/>
                </a:solidFill>
                <a:latin typeface="Proximus" panose="00000500000000000000" pitchFamily="2" charset="0"/>
              </a:rPr>
              <a:t>(FR)</a:t>
            </a:r>
          </a:p>
          <a:p>
            <a:pPr marL="0" marR="0" lvl="0" indent="0" algn="l" defTabSz="41148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100" b="1">
                <a:solidFill>
                  <a:schemeClr val="accent6"/>
                </a:solidFill>
                <a:latin typeface="Proximus Bold" panose="00000500000000000000" pitchFamily="2" charset="0"/>
              </a:rPr>
              <a:t>INTERNE</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Gouvernance :</a:t>
            </a:r>
            <a:r>
              <a:rPr lang="fr-BE" sz="1100" b="0" i="0">
                <a:solidFill>
                  <a:schemeClr val="accent6"/>
                </a:solidFill>
                <a:effectLst/>
                <a:latin typeface="Proximus" panose="00000500000000000000" pitchFamily="2" charset="0"/>
              </a:rPr>
              <a:t> En 2025, nous aurons un nouveau président du conseil d'administration (Stefaan De </a:t>
            </a:r>
            <a:r>
              <a:rPr lang="fr-BE" sz="1100" b="0" i="0" err="1">
                <a:solidFill>
                  <a:schemeClr val="accent6"/>
                </a:solidFill>
                <a:effectLst/>
                <a:latin typeface="Proximus" panose="00000500000000000000" pitchFamily="2" charset="0"/>
              </a:rPr>
              <a:t>Clercq</a:t>
            </a:r>
            <a:r>
              <a:rPr lang="fr-BE" sz="1100" b="0" i="0">
                <a:solidFill>
                  <a:schemeClr val="accent6"/>
                </a:solidFill>
                <a:effectLst/>
                <a:latin typeface="Proximus" panose="00000500000000000000" pitchFamily="2" charset="0"/>
              </a:rPr>
              <a:t> prendra sa retraite), nous aurons un nouveau ministre des Télécommunications, et nous avons un nouveau gouvernement fédéral. De plus, c'est la dernière année de BOLD 2025, ce qui signifie qu'après INSPIRE &amp; BOLD, nous préparons notre nouvelle stratégie à long terme d'ici la fin de l'année.</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Fiberklaar :</a:t>
            </a:r>
            <a:r>
              <a:rPr lang="fr-BE" sz="1100" b="0" i="0">
                <a:solidFill>
                  <a:schemeClr val="accent6"/>
                </a:solidFill>
                <a:effectLst/>
                <a:latin typeface="Proximus" panose="00000500000000000000" pitchFamily="2" charset="0"/>
              </a:rPr>
              <a:t> En 2024, nous avons racheté EQT et nous alignons maintenant le mode de fonctionnement de Fiberklaar avec le nôtre. Cela signifie que nous effectuons quelques changements dans le modèle opérationnel tout en réalisant des synergies opérationnelles (vous avez peut-être vu mon e-mail sur l'annonce que nous avons faite chez FK), tout cela alors que FK devient, pour la première fois de son histoire, notre principal moteur de déploiement.</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International :</a:t>
            </a:r>
            <a:r>
              <a:rPr lang="fr-BE" sz="1100" b="0" i="0">
                <a:solidFill>
                  <a:schemeClr val="accent6"/>
                </a:solidFill>
                <a:effectLst/>
                <a:latin typeface="Proximus" panose="00000500000000000000" pitchFamily="2" charset="0"/>
              </a:rPr>
              <a:t> Proximus devra intégrer une entreprise américaine (</a:t>
            </a:r>
            <a:r>
              <a:rPr lang="fr-BE" sz="1100" b="0" i="0" err="1">
                <a:solidFill>
                  <a:schemeClr val="accent6"/>
                </a:solidFill>
                <a:effectLst/>
                <a:latin typeface="Proximus" panose="00000500000000000000" pitchFamily="2" charset="0"/>
              </a:rPr>
              <a:t>Telesign</a:t>
            </a:r>
            <a:r>
              <a:rPr lang="fr-BE" sz="1100" b="0" i="0">
                <a:solidFill>
                  <a:schemeClr val="accent6"/>
                </a:solidFill>
                <a:effectLst/>
                <a:latin typeface="Proximus" panose="00000500000000000000" pitchFamily="2" charset="0"/>
              </a:rPr>
              <a:t>), indienne (</a:t>
            </a:r>
            <a:r>
              <a:rPr lang="fr-BE" sz="1100" b="0" i="0" err="1">
                <a:solidFill>
                  <a:schemeClr val="accent6"/>
                </a:solidFill>
                <a:effectLst/>
                <a:latin typeface="Proximus" panose="00000500000000000000" pitchFamily="2" charset="0"/>
              </a:rPr>
              <a:t>RouteMobile</a:t>
            </a:r>
            <a:r>
              <a:rPr lang="fr-BE" sz="1100" b="0" i="0">
                <a:solidFill>
                  <a:schemeClr val="accent6"/>
                </a:solidFill>
                <a:effectLst/>
                <a:latin typeface="Proximus" panose="00000500000000000000" pitchFamily="2" charset="0"/>
              </a:rPr>
              <a:t>) et européenne (BICS) en une seule organisation. Cela créera des synergies (moins liées à NBU) , mais la transformation sera un défi pour Proximus en tant qu'entreprise.</a:t>
            </a:r>
          </a:p>
          <a:p>
            <a:endParaRPr lang="fr-BE" sz="1100">
              <a:solidFill>
                <a:schemeClr val="accent6"/>
              </a:solidFill>
              <a:latin typeface="Proximus" panose="00000500000000000000" pitchFamily="2" charset="0"/>
            </a:endParaRPr>
          </a:p>
          <a:p>
            <a:endParaRPr lang="en-BE">
              <a:solidFill>
                <a:schemeClr val="accent6"/>
              </a:solidFill>
            </a:endParaRPr>
          </a:p>
        </p:txBody>
      </p:sp>
      <p:sp>
        <p:nvSpPr>
          <p:cNvPr id="4" name="Slide Number Placeholder 3">
            <a:extLst>
              <a:ext uri="{FF2B5EF4-FFF2-40B4-BE49-F238E27FC236}">
                <a16:creationId xmlns:a16="http://schemas.microsoft.com/office/drawing/2014/main" id="{624976EB-F801-E66B-B3E5-A33F3A93045C}"/>
              </a:ext>
            </a:extLst>
          </p:cNvPr>
          <p:cNvSpPr>
            <a:spLocks noGrp="1"/>
          </p:cNvSpPr>
          <p:nvPr>
            <p:ph type="sldNum" sz="quarter" idx="5"/>
          </p:nvPr>
        </p:nvSpPr>
        <p:spPr/>
        <p:txBody>
          <a:bodyPr/>
          <a:lstStyle/>
          <a:p>
            <a:fld id="{FA918F22-1231-AB43-96E7-2B8B890DCD5E}" type="slidenum">
              <a:rPr lang="en-US" smtClean="0"/>
              <a:pPr/>
              <a:t>9</a:t>
            </a:fld>
            <a:endParaRPr lang="en-US"/>
          </a:p>
        </p:txBody>
      </p:sp>
    </p:spTree>
    <p:extLst>
      <p:ext uri="{BB962C8B-B14F-4D97-AF65-F5344CB8AC3E}">
        <p14:creationId xmlns:p14="http://schemas.microsoft.com/office/powerpoint/2010/main" val="2242855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png"/><Relationship Id="rId3" Type="http://schemas.openxmlformats.org/officeDocument/2006/relationships/image" Target="../media/image13.svg"/><Relationship Id="rId4" Type="http://schemas.openxmlformats.org/officeDocument/2006/relationships/image" Target="../media/image1.png"/><Relationship Id="rId5"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png"/><Relationship Id="rId3" Type="http://schemas.openxmlformats.org/officeDocument/2006/relationships/image" Target="../media/image15.svg"/><Relationship Id="rId4" Type="http://schemas.openxmlformats.org/officeDocument/2006/relationships/image" Target="../media/image1.png"/><Relationship Id="rId5"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6.png"/><Relationship Id="rId3" Type="http://schemas.openxmlformats.org/officeDocument/2006/relationships/image" Target="../media/image17.svg"/><Relationship Id="rId4" Type="http://schemas.openxmlformats.org/officeDocument/2006/relationships/image" Target="../media/image1.png"/><Relationship Id="rId5"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png"/><Relationship Id="rId3" Type="http://schemas.openxmlformats.org/officeDocument/2006/relationships/image" Target="../media/image19.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1.pn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5.png"/><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svg"/><Relationship Id="rId4" Type="http://schemas.openxmlformats.org/officeDocument/2006/relationships/image" Target="../media/image7.png"/><Relationship Id="rId5"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10.svg"/><Relationship Id="rId4" Type="http://schemas.openxmlformats.org/officeDocument/2006/relationships/image" Target="../media/image1.png"/><Relationship Id="rId5"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0375" y="378000"/>
            <a:ext cx="8221663" cy="1311300"/>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460375" y="1968649"/>
            <a:ext cx="8221663"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Tree>
    <p:extLst>
      <p:ext uri="{BB962C8B-B14F-4D97-AF65-F5344CB8AC3E}">
        <p14:creationId xmlns:p14="http://schemas.microsoft.com/office/powerpoint/2010/main" val="29647312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a:srcRect r="22682" b="27634"/>
          <a:stretch/>
        </p:blipFill>
        <p:spPr>
          <a:xfrm>
            <a:off x="5470765" y="257929"/>
            <a:ext cx="3673235" cy="4885572"/>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4" y="2298257"/>
            <a:ext cx="4636557"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4220122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9478" b="16358"/>
          <a:stretch/>
        </p:blipFill>
        <p:spPr>
          <a:xfrm>
            <a:off x="4629151" y="557210"/>
            <a:ext cx="4514849" cy="4586290"/>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8639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3863975"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1913999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8FB6E1E-547D-C7F4-1A82-6164989D32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37812" b="34002"/>
          <a:stretch/>
        </p:blipFill>
        <p:spPr>
          <a:xfrm>
            <a:off x="2599265" y="1252069"/>
            <a:ext cx="6544735" cy="3891431"/>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2325158" cy="1660703"/>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9413"/>
            <a:ext cx="5288491"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705788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8768" b="5820"/>
          <a:stretch/>
        </p:blipFill>
        <p:spPr>
          <a:xfrm>
            <a:off x="2285122" y="1846800"/>
            <a:ext cx="6858878" cy="32966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6800"/>
            <a:ext cx="3286125" cy="1660703"/>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9412"/>
            <a:ext cx="8220075" cy="1209600"/>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3856772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6169025" cy="1001806"/>
          </a:xfrm>
        </p:spPr>
        <p:txBody>
          <a:bodyPr/>
          <a:lstStyle>
            <a:lvl1pPr marL="0" indent="0" algn="l">
              <a:lnSpc>
                <a:spcPct val="100000"/>
              </a:lnSpc>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6169025" cy="1209062"/>
          </a:xfrm>
        </p:spPr>
        <p:txBody>
          <a:bodyPr anchor="b">
            <a:noAutofit/>
          </a:bodyPr>
          <a:lstStyle>
            <a:lvl1pPr>
              <a:defRPr sz="3200"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27173" y="4293396"/>
            <a:ext cx="668009" cy="540544"/>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7048500" y="1"/>
            <a:ext cx="2095500" cy="2132350"/>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6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3242273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460376" y="1036800"/>
            <a:ext cx="8221662" cy="3517738"/>
          </a:xfrm>
          <a:prstGeom prst="rect">
            <a:avLst/>
          </a:prstGeom>
        </p:spPr>
        <p:txBody>
          <a:bodyPr vert="horz" lIns="0" tIns="0" rIns="0" bIns="0" numCol="1" spcCol="0" rtlCol="0" anchor="t" anchorCtr="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BE"/>
          </a:p>
        </p:txBody>
      </p:sp>
    </p:spTree>
    <p:extLst>
      <p:ext uri="{BB962C8B-B14F-4D97-AF65-F5344CB8AC3E}">
        <p14:creationId xmlns:p14="http://schemas.microsoft.com/office/powerpoint/2010/main" val="2068087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460376" y="1543050"/>
            <a:ext cx="8221662" cy="3011488"/>
          </a:xfrm>
          <a:prstGeom prst="rect">
            <a:avLst/>
          </a:prstGeom>
        </p:spPr>
        <p:txBody>
          <a:bodyPr vert="horz" lIns="0" tIns="0" rIns="0" bIns="0" numCol="1" spcCol="0" rtlCol="0" anchor="t" anchorCtr="0">
            <a:noAutofit/>
          </a:bodyPr>
          <a:lstStyle>
            <a:lvl2pPr marL="360000" indent="-176400">
              <a:spcBef>
                <a:spcPts val="600"/>
              </a:spcBef>
              <a:defRPr/>
            </a:lvl2pPr>
            <a:lvl3pPr>
              <a:spcBef>
                <a:spcPts val="600"/>
              </a:spcBef>
              <a:defRPr/>
            </a:lvl3pPr>
            <a:lvl4pPr>
              <a:spcBef>
                <a:spcPts val="1200"/>
              </a:spcBef>
              <a:defRPr/>
            </a:lvl4pPr>
            <a:lvl5pPr>
              <a:spcBef>
                <a:spcPts val="18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bg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2357618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Tree>
    <p:extLst>
      <p:ext uri="{BB962C8B-B14F-4D97-AF65-F5344CB8AC3E}">
        <p14:creationId xmlns:p14="http://schemas.microsoft.com/office/powerpoint/2010/main" val="294653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bg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743745191"/>
      </p:ext>
    </p:extLst>
  </p:cSld>
  <p:clrMapOvr>
    <a:masterClrMapping/>
  </p:clrMapOvr>
  <p:extLst>
    <p:ext uri="{DCECCB84-F9BA-43D5-87BE-67443E8EF086}">
      <p15:sldGuideLst xmlns:p15="http://schemas.microsoft.com/office/powerpoint/2012/main">
        <p15:guide id="1" orient="horz" pos="96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460375" y="1038225"/>
            <a:ext cx="8223250" cy="351631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17057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8029536" y="4295826"/>
            <a:ext cx="663324" cy="534416"/>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endParaRPr lang="en-US"/>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endParaRPr lang="en-US"/>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endParaRPr lang="en-US"/>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endParaRPr lang="en-US"/>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endParaRPr lang="en-US"/>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endParaRPr lang="en-US"/>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endParaRPr lang="en-US"/>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endParaRPr lang="en-US"/>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endParaRPr lang="en-US"/>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endParaRPr lang="en-US"/>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endParaRPr lang="en-US"/>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endParaRPr lang="en-US"/>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endParaRPr lang="en-US"/>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endParaRPr lang="en-US"/>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endParaRPr lang="en-US"/>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endParaRPr lang="en-US"/>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endParaRPr lang="en-US"/>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endParaRPr lang="en-US"/>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endParaRPr lang="en-US"/>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endParaRPr lang="en-US"/>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endParaRPr lang="en-US"/>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endParaRPr lang="en-US"/>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endParaRPr lang="en-US"/>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endParaRPr lang="en-US"/>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endParaRPr lang="en-US"/>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endParaRPr lang="en-US"/>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endParaRPr lang="en-US"/>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endParaRPr lang="en-US"/>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endParaRPr lang="en-US"/>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endParaRPr lang="en-US"/>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endParaRPr lang="en-US"/>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endParaRPr lang="en-US"/>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endParaRPr lang="en-US"/>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endParaRPr lang="en-US"/>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endParaRPr lang="en-US"/>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endParaRPr lang="en-US"/>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endParaRPr lang="en-US"/>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endParaRPr lang="en-US"/>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endParaRPr lang="en-US"/>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endParaRPr lang="en-US"/>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endParaRPr lang="en-US"/>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endParaRPr lang="en-US"/>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endParaRPr lang="en-US"/>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endParaRPr lang="en-US"/>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endParaRPr lang="en-US"/>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endParaRPr lang="en-US"/>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endParaRPr lang="en-US"/>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endParaRPr lang="en-US"/>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endParaRPr lang="en-US"/>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endParaRPr lang="en-US"/>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endParaRPr lang="en-US"/>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endParaRPr lang="en-US"/>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endParaRPr lang="en-US"/>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endParaRPr lang="en-US"/>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endParaRPr lang="en-US"/>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endParaRPr lang="en-US"/>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endParaRPr lang="en-US"/>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endParaRPr lang="en-US"/>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endParaRPr lang="en-US"/>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endParaRPr lang="en-US"/>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endParaRPr lang="en-US"/>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endParaRPr lang="en-US"/>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endParaRPr lang="en-US"/>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endParaRPr lang="en-US"/>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endParaRPr lang="en-US"/>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endParaRPr lang="en-US"/>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endParaRPr lang="en-US"/>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endParaRPr lang="en-US"/>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endParaRPr lang="en-US"/>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endParaRPr lang="en-US"/>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endParaRPr lang="en-US"/>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endParaRPr lang="en-US"/>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endParaRPr lang="en-US"/>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endParaRPr lang="en-US"/>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endParaRPr lang="en-US"/>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endParaRPr lang="en-US"/>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endParaRPr lang="en-US"/>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endParaRPr lang="en-US"/>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endParaRPr lang="en-US"/>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endParaRPr lang="en-US"/>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endParaRPr lang="en-US"/>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endParaRPr lang="en-US"/>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endParaRPr lang="en-US"/>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endParaRPr lang="en-US"/>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endParaRPr lang="en-US"/>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endParaRPr lang="en-US"/>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endParaRPr lang="en-US"/>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endParaRPr lang="en-US"/>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endParaRPr lang="en-US"/>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endParaRPr lang="en-US"/>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endParaRPr lang="en-US"/>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endParaRPr lang="en-US"/>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endParaRPr lang="en-US"/>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endParaRPr lang="en-US"/>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endParaRPr lang="en-US"/>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endParaRPr lang="en-US"/>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endParaRPr lang="en-US"/>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endParaRPr lang="en-US"/>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endParaRPr lang="en-US"/>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endParaRPr lang="en-US"/>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endParaRPr lang="en-US"/>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endParaRPr lang="en-US"/>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endParaRPr lang="en-US"/>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endParaRPr lang="en-US"/>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endParaRPr lang="en-US"/>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endParaRPr lang="en-US"/>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endParaRPr lang="en-US"/>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endParaRPr lang="en-US"/>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endParaRPr lang="en-US"/>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endParaRPr lang="en-US"/>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endParaRPr lang="en-US"/>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endParaRPr lang="en-US"/>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endParaRPr lang="en-US"/>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endParaRPr lang="en-US"/>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endParaRPr lang="en-US"/>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endParaRPr lang="en-US"/>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endParaRPr lang="en-US"/>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endParaRPr lang="en-US"/>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endParaRPr lang="en-US"/>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endParaRPr lang="en-US"/>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endParaRPr lang="en-US"/>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endParaRPr lang="en-US"/>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endParaRPr lang="en-US"/>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endParaRPr lang="en-US"/>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endParaRPr lang="en-US"/>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endParaRPr lang="en-US"/>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endParaRPr lang="en-US"/>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endParaRPr lang="en-US"/>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endParaRPr lang="en-US"/>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endParaRPr lang="en-US"/>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endParaRPr lang="en-US"/>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endParaRPr lang="en-US"/>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endParaRPr lang="en-US"/>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endParaRPr lang="en-US"/>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endParaRPr lang="en-US"/>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endParaRPr lang="en-US"/>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endParaRPr lang="en-US"/>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endParaRPr lang="en-US"/>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endParaRPr lang="en-US"/>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endParaRPr lang="en-US"/>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endParaRPr lang="en-US"/>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endParaRPr lang="en-US"/>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endParaRPr lang="en-US"/>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endParaRPr lang="en-US"/>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endParaRPr lang="en-US"/>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endParaRPr lang="en-US"/>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endParaRPr lang="en-US"/>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endParaRPr lang="en-US"/>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endParaRPr lang="en-US"/>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endParaRPr lang="en-US"/>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endParaRPr lang="en-US"/>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endParaRPr lang="en-US"/>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endParaRPr lang="en-US"/>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endParaRPr lang="en-US"/>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endParaRPr lang="en-US"/>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endParaRPr lang="en-US"/>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endParaRPr lang="en-US"/>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endParaRPr lang="en-US"/>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endParaRPr lang="en-US"/>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endParaRPr lang="en-US"/>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endParaRPr lang="en-US"/>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endParaRPr lang="en-US"/>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endParaRPr lang="en-US"/>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endParaRPr lang="en-US"/>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endParaRPr lang="en-US"/>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endParaRPr lang="en-US"/>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endParaRPr lang="en-US"/>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endParaRPr lang="en-US"/>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endParaRPr lang="en-US"/>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endParaRPr lang="en-US"/>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endParaRPr lang="en-US"/>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endParaRPr lang="en-US"/>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endParaRPr lang="en-US"/>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endParaRPr lang="en-US"/>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endParaRPr lang="en-US"/>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endParaRPr lang="en-US"/>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endParaRPr lang="en-US"/>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endParaRPr lang="en-US"/>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endParaRPr lang="en-US"/>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endParaRPr lang="en-US"/>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endParaRPr lang="en-US"/>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endParaRPr lang="en-US"/>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endParaRPr lang="en-US"/>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endParaRPr lang="en-US"/>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endParaRPr lang="en-US"/>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endParaRPr lang="en-US"/>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endParaRPr lang="en-US"/>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endParaRPr lang="en-US"/>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endParaRPr lang="en-US"/>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endParaRPr lang="en-US"/>
                </a:p>
              </p:txBody>
            </p:sp>
          </p:grpSp>
        </p:grpSp>
      </p:grpSp>
      <p:sp>
        <p:nvSpPr>
          <p:cNvPr id="7" name="Title 1"/>
          <p:cNvSpPr>
            <a:spLocks noGrp="1"/>
          </p:cNvSpPr>
          <p:nvPr>
            <p:ph type="title" hasCustomPrompt="1"/>
          </p:nvPr>
        </p:nvSpPr>
        <p:spPr>
          <a:xfrm>
            <a:off x="460375" y="379413"/>
            <a:ext cx="4446058" cy="2192337"/>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460375" y="2851099"/>
            <a:ext cx="4111625"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4322763" y="3"/>
            <a:ext cx="4819650" cy="51434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r>
              <a:rPr lang="fr-FR"/>
              <a:t>Cliquez sur l'icône pour ajouter une image</a:t>
            </a:r>
            <a:endParaRPr lang="en-US"/>
          </a:p>
        </p:txBody>
      </p:sp>
    </p:spTree>
    <p:extLst>
      <p:ext uri="{BB962C8B-B14F-4D97-AF65-F5344CB8AC3E}">
        <p14:creationId xmlns:p14="http://schemas.microsoft.com/office/powerpoint/2010/main" val="27056412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tx1"/>
                </a:solidFill>
                <a:latin typeface="Proximus Light" panose="020B0604020202020204" charset="0"/>
              </a:defRPr>
            </a:lvl1pPr>
          </a:lstStyle>
          <a:p>
            <a:pPr lvl="0"/>
            <a:r>
              <a:rPr lang="fr-FR"/>
              <a:t>Cliquez pour modifier les styles du texte du masque</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460376" y="1543050"/>
            <a:ext cx="8221662" cy="3011488"/>
          </a:xfrm>
          <a:prstGeom prst="rect">
            <a:avLst/>
          </a:prstGeom>
        </p:spPr>
        <p:txBody>
          <a:bodyPr vert="horz" lIns="0" tIns="0" rIns="0" bIns="0" numCol="1" spcCol="0" rtlCol="0" anchor="t" anchorCtr="0">
            <a:noAutofit/>
          </a:bodyPr>
          <a:lstStyle>
            <a:lvl1pPr>
              <a:buClr>
                <a:schemeClr val="tx1"/>
              </a:buClr>
              <a:defRPr>
                <a:solidFill>
                  <a:schemeClr val="tx1"/>
                </a:solidFill>
              </a:defRPr>
            </a:lvl1pPr>
            <a:lvl2pPr marL="360000" indent="-176400">
              <a:spcBef>
                <a:spcPts val="600"/>
              </a:spcBef>
              <a:buClr>
                <a:schemeClr val="tx1"/>
              </a:buClr>
              <a:defRPr>
                <a:solidFill>
                  <a:schemeClr val="tx1"/>
                </a:solidFill>
              </a:defRPr>
            </a:lvl2pPr>
            <a:lvl3pPr>
              <a:spcBef>
                <a:spcPts val="600"/>
              </a:spcBef>
              <a:buClr>
                <a:schemeClr val="tx1"/>
              </a:buClr>
              <a:defRPr>
                <a:solidFill>
                  <a:schemeClr val="tx1"/>
                </a:solidFill>
              </a:defRPr>
            </a:lvl3pPr>
            <a:lvl4pPr>
              <a:spcBef>
                <a:spcPts val="1200"/>
              </a:spcBef>
              <a:buClr>
                <a:schemeClr val="tx1"/>
              </a:buClr>
              <a:defRPr>
                <a:solidFill>
                  <a:schemeClr val="tx1"/>
                </a:solidFill>
              </a:defRPr>
            </a:lvl4pPr>
            <a:lvl5pPr>
              <a:spcBef>
                <a:spcPts val="18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879377284"/>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5720429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tx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668912523"/>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2008503" cy="917574"/>
          </a:xfr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1685015" y="-8961"/>
            <a:ext cx="7458985" cy="5152461"/>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ctr" defTabSz="1218418"/>
            <a:r>
              <a:rPr lang="en-BE" sz="1200" b="1">
                <a:solidFill>
                  <a:schemeClr val="tx1"/>
                </a:solidFill>
                <a:latin typeface="Proximus Bold" panose="00000500000000000000" pitchFamily="2" charset="0"/>
                <a:cs typeface="Proximus Bold"/>
              </a:rPr>
              <a:t>  </a:t>
            </a:r>
            <a:endParaRPr lang="en-GB" sz="1200" b="1" err="1">
              <a:solidFill>
                <a:schemeClr val="tx1"/>
              </a:solidFill>
              <a:latin typeface="Proximus Bold" panose="00000500000000000000" pitchFamily="2" charset="0"/>
              <a:cs typeface="Proximus Bold"/>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3413760" y="1037917"/>
            <a:ext cx="5261928" cy="3516621"/>
          </a:xfrm>
        </p:spPr>
        <p:txBody>
          <a:bodyPr/>
          <a:lstStyle/>
          <a:p>
            <a:r>
              <a:rPr lang="fr-FR"/>
              <a:t>Cliquez sur l'icône pour ajouter un tableau</a:t>
            </a:r>
            <a:endParaRPr lang="en-US"/>
          </a:p>
        </p:txBody>
      </p:sp>
    </p:spTree>
    <p:extLst>
      <p:ext uri="{BB962C8B-B14F-4D97-AF65-F5344CB8AC3E}">
        <p14:creationId xmlns:p14="http://schemas.microsoft.com/office/powerpoint/2010/main" val="37225730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3675592"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5000721" y="1257300"/>
            <a:ext cx="3675592"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42389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38750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2587021"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4713667"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6840313"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603199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4"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3254344"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6048313"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460374"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3254344"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6048313"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950503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ocks - 6">
    <p:bg>
      <p:bgPr>
        <a:solidFill>
          <a:srgbClr val="F3F4F9"/>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09E74C-9CAD-4B8A-2025-332FBD366C7C}"/>
              </a:ext>
            </a:extLst>
          </p:cNvPr>
          <p:cNvSpPr>
            <a:spLocks noGrp="1"/>
          </p:cNvSpPr>
          <p:nvPr>
            <p:ph type="title"/>
          </p:nvPr>
        </p:nvSpPr>
        <p:spPr/>
        <p:txBody>
          <a:bodyPr anchor="ctr"/>
          <a:lstStyle>
            <a:lvl1pPr>
              <a:defRPr>
                <a:solidFill>
                  <a:srgbClr val="141C24"/>
                </a:solidFill>
              </a:defRPr>
            </a:lvl1pPr>
          </a:lstStyle>
          <a:p>
            <a:r>
              <a:rPr lang="en-GB"/>
              <a:t>Click to edit Master title style</a:t>
            </a:r>
            <a:endParaRPr lang="en-BE"/>
          </a:p>
        </p:txBody>
      </p:sp>
    </p:spTree>
    <p:extLst>
      <p:ext uri="{BB962C8B-B14F-4D97-AF65-F5344CB8AC3E}">
        <p14:creationId xmlns:p14="http://schemas.microsoft.com/office/powerpoint/2010/main" val="3598981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930610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374110" y="-1298424"/>
            <a:ext cx="8676656" cy="5938450"/>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ctr" defTabSz="1218418"/>
            <a:endParaRPr lang="en-US" sz="1200" b="1" err="1">
              <a:solidFill>
                <a:schemeClr val="tx1"/>
              </a:solidFill>
              <a:latin typeface="Proximus Bold" panose="00000500000000000000" pitchFamily="2" charset="0"/>
              <a:cs typeface="Proximus Bold"/>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460375" y="1968649"/>
            <a:ext cx="8221663"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460375" y="378000"/>
            <a:ext cx="8221663" cy="1311300"/>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Date Placeholder 8">
            <a:extLst>
              <a:ext uri="{FF2B5EF4-FFF2-40B4-BE49-F238E27FC236}">
                <a16:creationId xmlns:a16="http://schemas.microsoft.com/office/drawing/2014/main" id="{3B209494-A5CA-210D-6B64-8DDF378F201E}"/>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Tree>
    <p:extLst>
      <p:ext uri="{BB962C8B-B14F-4D97-AF65-F5344CB8AC3E}">
        <p14:creationId xmlns:p14="http://schemas.microsoft.com/office/powerpoint/2010/main" val="31296394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76518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4940007" y="0"/>
            <a:ext cx="4212000" cy="5143500"/>
          </a:xfrm>
          <a:blipFill>
            <a:blip r:embed="rId2"/>
            <a:tile tx="0" ty="69850" sx="100000" sy="100000" flip="none" algn="ctr"/>
          </a:blipFill>
        </p:spPr>
        <p:txBody>
          <a:bodyPr anchor="ctr"/>
          <a:lstStyle>
            <a:lvl1pPr marL="0" indent="0" algn="ctr">
              <a:lnSpc>
                <a:spcPct val="100000"/>
              </a:lnSpc>
              <a:buNone/>
              <a:defRPr baseline="0">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460378" y="377826"/>
            <a:ext cx="3948592" cy="1058400"/>
          </a:xfrm>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460375" y="1601999"/>
            <a:ext cx="3948113" cy="3093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4771256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0" y="0"/>
            <a:ext cx="4941321" cy="5143500"/>
          </a:xfrm>
          <a:blipFill>
            <a:blip r:embed="rId2"/>
            <a:tile tx="0" ty="69850" sx="100000" sy="100000" flip="none" algn="ctr"/>
          </a:blipFill>
        </p:spPr>
        <p:txBody>
          <a:bodyPr anchor="ctr"/>
          <a:lstStyle>
            <a:lvl1pPr marL="0" indent="0" algn="ctr">
              <a:lnSpc>
                <a:spcPct val="100000"/>
              </a:lnSpc>
              <a:buNone/>
              <a:defRPr baseline="0">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5435617" y="377825"/>
            <a:ext cx="3240696" cy="1057307"/>
          </a:xfrm>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5435600" y="1600199"/>
            <a:ext cx="3240303" cy="30956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765937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0"/>
            <a:ext cx="9144000" cy="5148469"/>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26809765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460375" y="1037768"/>
            <a:ext cx="8242842" cy="646331"/>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Bold"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a:t>T</a:t>
            </a:r>
            <a:r>
              <a:rPr lang="en-US"/>
              <a:t>h</a:t>
            </a:r>
            <a:r>
              <a:rPr lang="en-BE"/>
              <a:t>a</a:t>
            </a:r>
            <a:r>
              <a:rPr lang="en-US"/>
              <a:t>n</a:t>
            </a:r>
            <a:r>
              <a:rPr lang="en-BE"/>
              <a:t>k </a:t>
            </a:r>
            <a:r>
              <a:rPr lang="en-US"/>
              <a:t>Y</a:t>
            </a:r>
            <a:r>
              <a:rPr lang="en-BE"/>
              <a:t>o</a:t>
            </a:r>
            <a:r>
              <a:rPr lang="en-US"/>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460375" y="3775452"/>
            <a:ext cx="8221664" cy="267922"/>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Bold"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Bold"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Bold"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Bold"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Bold"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439738" y="4105275"/>
            <a:ext cx="8262937" cy="268288"/>
          </a:xfrm>
          <a:noFill/>
        </p:spPr>
        <p:txBody>
          <a:bodyPr/>
          <a:lstStyle>
            <a:lvl1pPr marL="0" indent="0">
              <a:buNone/>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4175131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6625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Custom Layout">
    <p:bg>
      <p:bgPr>
        <a:solidFill>
          <a:srgbClr val="F3F6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680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72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72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460375" y="378000"/>
            <a:ext cx="5580000" cy="1311300"/>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460375" y="1968649"/>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2123533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460375" y="372535"/>
            <a:ext cx="5580000" cy="1311300"/>
          </a:xfrm>
        </p:spPr>
        <p:txBody>
          <a:bodyPr anchor="b">
            <a:noAutofit/>
          </a:bodyPr>
          <a:lstStyle>
            <a:lvl1pPr>
              <a:defRPr sz="36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460375" y="1968649"/>
            <a:ext cx="5580000" cy="1001806"/>
          </a:xfrm>
        </p:spPr>
        <p:txBody>
          <a:bodyPr/>
          <a:lstStyle>
            <a:lvl1pPr marL="0" indent="0" algn="l">
              <a:lnSpc>
                <a:spcPct val="100000"/>
              </a:lnSpc>
              <a:buNone/>
              <a:defRPr sz="2200">
                <a:solidFill>
                  <a:schemeClr val="bg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18936" y="4279105"/>
            <a:ext cx="684532" cy="554831"/>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72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356422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5580000" cy="1209062"/>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72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41994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5580000" cy="1209062"/>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72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1287056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5047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1139" r="5844"/>
          <a:stretch/>
        </p:blipFill>
        <p:spPr>
          <a:xfrm>
            <a:off x="3965151" y="250431"/>
            <a:ext cx="5178850" cy="4313237"/>
          </a:xfrm>
          <a:prstGeom prst="rect">
            <a:avLst/>
          </a:prstGeom>
        </p:spPr>
      </p:pic>
    </p:spTree>
    <p:extLst>
      <p:ext uri="{BB962C8B-B14F-4D97-AF65-F5344CB8AC3E}">
        <p14:creationId xmlns:p14="http://schemas.microsoft.com/office/powerpoint/2010/main" val="2055008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39144" b="15694"/>
          <a:stretch/>
        </p:blipFill>
        <p:spPr>
          <a:xfrm>
            <a:off x="2193925" y="1184275"/>
            <a:ext cx="6950075" cy="3959225"/>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5047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3808244082"/>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0377" y="377826"/>
            <a:ext cx="8221663" cy="660092"/>
          </a:xfrm>
          <a:prstGeom prst="rect">
            <a:avLst/>
          </a:prstGeom>
        </p:spPr>
        <p:txBody>
          <a:bodyPr vert="horz" lIns="0" tIns="0" rIns="0" bIns="0" rtlCol="0" anchor="t" anchorCtr="0">
            <a:noAutofit/>
          </a:bodyPr>
          <a:lstStyle/>
          <a:p>
            <a:r>
              <a:rPr lang="fr-FR"/>
              <a:t>Modifiez le style du titre</a:t>
            </a:r>
            <a:endParaRPr lang="nl-BE"/>
          </a:p>
        </p:txBody>
      </p:sp>
      <p:sp>
        <p:nvSpPr>
          <p:cNvPr id="3" name="Text Placeholder 2"/>
          <p:cNvSpPr>
            <a:spLocks noGrp="1"/>
          </p:cNvSpPr>
          <p:nvPr>
            <p:ph type="body" idx="1"/>
          </p:nvPr>
        </p:nvSpPr>
        <p:spPr>
          <a:xfrm>
            <a:off x="460376" y="1038227"/>
            <a:ext cx="8221662" cy="3513138"/>
          </a:xfrm>
          <a:prstGeom prst="rect">
            <a:avLst/>
          </a:prstGeom>
        </p:spPr>
        <p:txBody>
          <a:bodyPr vert="horz" lIns="0" tIns="0" rIns="0" bIns="0" numCol="1" spcCol="0" rtlCol="0" anchor="t" anchorCtr="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BE"/>
          </a:p>
        </p:txBody>
      </p:sp>
    </p:spTree>
    <p:extLst>
      <p:ext uri="{BB962C8B-B14F-4D97-AF65-F5344CB8AC3E}">
        <p14:creationId xmlns:p14="http://schemas.microsoft.com/office/powerpoint/2010/main" val="3654186370"/>
      </p:ext>
    </p:extLst>
  </p:cSld>
  <p:clrMap bg1="dk1" tx1="lt1" bg2="dk2" tx2="lt2" accent1="accent1" accent2="accent2" accent3="accent3" accent4="accent4" accent5="accent5" accent6="accent6" hlink="hlink" folHlink="folHlink"/>
  <p:sldLayoutIdLst>
    <p:sldLayoutId id="2147484373" r:id="rId1"/>
    <p:sldLayoutId id="2147484392" r:id="rId2"/>
    <p:sldLayoutId id="2147484374" r:id="rId3"/>
    <p:sldLayoutId id="2147484375" r:id="rId4"/>
    <p:sldLayoutId id="2147484376" r:id="rId5"/>
    <p:sldLayoutId id="2147484377" r:id="rId6"/>
    <p:sldLayoutId id="2147484401" r:id="rId7"/>
    <p:sldLayoutId id="2147484395" r:id="rId8"/>
    <p:sldLayoutId id="2147484399" r:id="rId9"/>
    <p:sldLayoutId id="2147484400" r:id="rId10"/>
    <p:sldLayoutId id="2147484396" r:id="rId11"/>
    <p:sldLayoutId id="2147484397" r:id="rId12"/>
    <p:sldLayoutId id="2147484398" r:id="rId13"/>
    <p:sldLayoutId id="2147484379" r:id="rId14"/>
    <p:sldLayoutId id="2147484184" r:id="rId15"/>
    <p:sldLayoutId id="2147484381" r:id="rId16"/>
    <p:sldLayoutId id="2147484382" r:id="rId17"/>
    <p:sldLayoutId id="2147484383" r:id="rId18"/>
    <p:sldLayoutId id="2147484186" r:id="rId19"/>
    <p:sldLayoutId id="2147484394" r:id="rId20"/>
    <p:sldLayoutId id="2147484402" r:id="rId21"/>
    <p:sldLayoutId id="2147484403" r:id="rId22"/>
    <p:sldLayoutId id="2147484393" r:id="rId23"/>
    <p:sldLayoutId id="2147484384" r:id="rId24"/>
    <p:sldLayoutId id="2147484385" r:id="rId25"/>
    <p:sldLayoutId id="2147484386" r:id="rId26"/>
    <p:sldLayoutId id="2147484387" r:id="rId27"/>
    <p:sldLayoutId id="2147484406" r:id="rId28"/>
    <p:sldLayoutId id="2147484388" r:id="rId29"/>
    <p:sldLayoutId id="2147484389" r:id="rId30"/>
    <p:sldLayoutId id="2147484195" r:id="rId31"/>
    <p:sldLayoutId id="2147484391" r:id="rId32"/>
    <p:sldLayoutId id="2147484199" r:id="rId33"/>
    <p:sldLayoutId id="2147484378" r:id="rId34"/>
    <p:sldLayoutId id="2147484390" r:id="rId35"/>
    <p:sldLayoutId id="2147484405" r:id="rId36"/>
    <p:sldLayoutId id="2147484407" r:id="rId37"/>
  </p:sldLayoutIdLst>
  <p:hf sldNum="0" hdr="0" ftr="0" dt="0"/>
  <p:txStyles>
    <p:titleStyle>
      <a:lvl1pPr algn="l" defTabSz="914287" rtl="0" eaLnBrk="1" latinLnBrk="0" hangingPunct="1">
        <a:spcBef>
          <a:spcPct val="0"/>
        </a:spcBef>
        <a:buNone/>
        <a:defRPr sz="2599" b="1" i="0" kern="1200">
          <a:solidFill>
            <a:schemeClr val="bg1"/>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287" rtl="0" eaLnBrk="1" latinLnBrk="0" hangingPunct="1">
        <a:defRPr sz="1800" kern="1200">
          <a:solidFill>
            <a:schemeClr val="tx1"/>
          </a:solidFill>
          <a:latin typeface="+mn-lt"/>
          <a:ea typeface="+mn-ea"/>
          <a:cs typeface="+mn-cs"/>
        </a:defRPr>
      </a:lvl1pPr>
      <a:lvl2pPr marL="457143" algn="l" defTabSz="914287" rtl="0" eaLnBrk="1" latinLnBrk="0" hangingPunct="1">
        <a:defRPr sz="1800" kern="1200">
          <a:solidFill>
            <a:schemeClr val="tx1"/>
          </a:solidFill>
          <a:latin typeface="+mn-lt"/>
          <a:ea typeface="+mn-ea"/>
          <a:cs typeface="+mn-cs"/>
        </a:defRPr>
      </a:lvl2pPr>
      <a:lvl3pPr marL="914287" algn="l" defTabSz="914287" rtl="0" eaLnBrk="1" latinLnBrk="0" hangingPunct="1">
        <a:defRPr sz="1800" kern="1200">
          <a:solidFill>
            <a:schemeClr val="tx1"/>
          </a:solidFill>
          <a:latin typeface="+mn-lt"/>
          <a:ea typeface="+mn-ea"/>
          <a:cs typeface="+mn-cs"/>
        </a:defRPr>
      </a:lvl3pPr>
      <a:lvl4pPr marL="1371429" algn="l" defTabSz="914287" rtl="0" eaLnBrk="1" latinLnBrk="0" hangingPunct="1">
        <a:defRPr sz="1800" kern="1200">
          <a:solidFill>
            <a:schemeClr val="tx1"/>
          </a:solidFill>
          <a:latin typeface="+mn-lt"/>
          <a:ea typeface="+mn-ea"/>
          <a:cs typeface="+mn-cs"/>
        </a:defRPr>
      </a:lvl4pPr>
      <a:lvl5pPr marL="1828571" algn="l" defTabSz="914287" rtl="0" eaLnBrk="1" latinLnBrk="0" hangingPunct="1">
        <a:defRPr sz="1800" kern="1200">
          <a:solidFill>
            <a:schemeClr val="tx1"/>
          </a:solidFill>
          <a:latin typeface="+mn-lt"/>
          <a:ea typeface="+mn-ea"/>
          <a:cs typeface="+mn-cs"/>
        </a:defRPr>
      </a:lvl5pPr>
      <a:lvl6pPr marL="2285714" algn="l" defTabSz="914287" rtl="0" eaLnBrk="1" latinLnBrk="0" hangingPunct="1">
        <a:defRPr sz="1800" kern="1200">
          <a:solidFill>
            <a:schemeClr val="tx1"/>
          </a:solidFill>
          <a:latin typeface="+mn-lt"/>
          <a:ea typeface="+mn-ea"/>
          <a:cs typeface="+mn-cs"/>
        </a:defRPr>
      </a:lvl6pPr>
      <a:lvl7pPr marL="2742857" algn="l" defTabSz="914287" rtl="0" eaLnBrk="1" latinLnBrk="0" hangingPunct="1">
        <a:defRPr sz="1800" kern="1200">
          <a:solidFill>
            <a:schemeClr val="tx1"/>
          </a:solidFill>
          <a:latin typeface="+mn-lt"/>
          <a:ea typeface="+mn-ea"/>
          <a:cs typeface="+mn-cs"/>
        </a:defRPr>
      </a:lvl7pPr>
      <a:lvl8pPr marL="3200000" algn="l" defTabSz="914287" rtl="0" eaLnBrk="1" latinLnBrk="0" hangingPunct="1">
        <a:defRPr sz="1800" kern="1200">
          <a:solidFill>
            <a:schemeClr val="tx1"/>
          </a:solidFill>
          <a:latin typeface="+mn-lt"/>
          <a:ea typeface="+mn-ea"/>
          <a:cs typeface="+mn-cs"/>
        </a:defRPr>
      </a:lvl8pPr>
      <a:lvl9pPr marL="3657143" algn="l" defTabSz="9142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userDrawn="1">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5.png"/><Relationship Id="rId4" Type="http://schemas.openxmlformats.org/officeDocument/2006/relationships/image" Target="../media/image6.svg"/><Relationship Id="rId5" Type="http://schemas.openxmlformats.org/officeDocument/2006/relationships/image" Target="../media/image21.png"/><Relationship Id="rId6" Type="http://schemas.openxmlformats.org/officeDocument/2006/relationships/image" Target="../media/image22.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2.xml"/><Relationship Id="rId3" Type="http://schemas.openxmlformats.org/officeDocument/2006/relationships/image" Target="../media/image68.png"/><Relationship Id="rId4" Type="http://schemas.openxmlformats.org/officeDocument/2006/relationships/image" Target="../media/image69.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3.xml"/><Relationship Id="rId3" Type="http://schemas.openxmlformats.org/officeDocument/2006/relationships/image" Target="../media/image68.png"/><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4.xml"/><Relationship Id="rId3" Type="http://schemas.openxmlformats.org/officeDocument/2006/relationships/image" Target="../media/image70.png"/><Relationship Id="rId4" Type="http://schemas.openxmlformats.org/officeDocument/2006/relationships/image" Target="../media/image71.svg"/><Relationship Id="rId5" Type="http://schemas.openxmlformats.org/officeDocument/2006/relationships/image" Target="../media/image72.png"/><Relationship Id="rId6" Type="http://schemas.openxmlformats.org/officeDocument/2006/relationships/image" Target="../media/image73.svg"/><Relationship Id="rId7" Type="http://schemas.openxmlformats.org/officeDocument/2006/relationships/image" Target="../media/image74.png"/><Relationship Id="rId8" Type="http://schemas.openxmlformats.org/officeDocument/2006/relationships/image" Target="../media/image75.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5.xml"/><Relationship Id="rId3" Type="http://schemas.openxmlformats.org/officeDocument/2006/relationships/image" Target="../media/image72.png"/><Relationship Id="rId4" Type="http://schemas.openxmlformats.org/officeDocument/2006/relationships/image" Target="../media/image73.svg"/><Relationship Id="rId5" Type="http://schemas.openxmlformats.org/officeDocument/2006/relationships/image" Target="../media/image76.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6.xml"/><Relationship Id="rId3" Type="http://schemas.openxmlformats.org/officeDocument/2006/relationships/image" Target="../media/image72.png"/><Relationship Id="rId4" Type="http://schemas.openxmlformats.org/officeDocument/2006/relationships/image" Target="../media/image73.svg"/><Relationship Id="rId5" Type="http://schemas.openxmlformats.org/officeDocument/2006/relationships/image" Target="../media/image77.png"/><Relationship Id="rId6" Type="http://schemas.openxmlformats.org/officeDocument/2006/relationships/image" Target="../media/image78.jpeg"/><Relationship Id="rId7" Type="http://schemas.openxmlformats.org/officeDocument/2006/relationships/image" Target="../media/image79.png"/><Relationship Id="rId8" Type="http://schemas.openxmlformats.org/officeDocument/2006/relationships/image" Target="../media/image80.png"/><Relationship Id="rId9" Type="http://schemas.openxmlformats.org/officeDocument/2006/relationships/image" Target="../media/image81.png"/><Relationship Id="rId10" Type="http://schemas.openxmlformats.org/officeDocument/2006/relationships/image" Target="../media/image5.png"/><Relationship Id="rId11" Type="http://schemas.openxmlformats.org/officeDocument/2006/relationships/image" Target="../media/image6.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7.xml"/><Relationship Id="rId3" Type="http://schemas.openxmlformats.org/officeDocument/2006/relationships/image" Target="../media/image24.png"/><Relationship Id="rId4" Type="http://schemas.openxmlformats.org/officeDocument/2006/relationships/image" Target="../media/image25.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8.xml"/><Relationship Id="rId3" Type="http://schemas.openxmlformats.org/officeDocument/2006/relationships/image" Target="../media/image72.png"/><Relationship Id="rId4" Type="http://schemas.openxmlformats.org/officeDocument/2006/relationships/image" Target="../media/image73.svg"/><Relationship Id="rId5" Type="http://schemas.openxmlformats.org/officeDocument/2006/relationships/image" Target="../media/image80.png"/><Relationship Id="rId6" Type="http://schemas.openxmlformats.org/officeDocument/2006/relationships/image" Target="../media/image82.jpeg"/><Relationship Id="rId7" Type="http://schemas.openxmlformats.org/officeDocument/2006/relationships/image" Target="../media/image26.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9.xml"/><Relationship Id="rId3" Type="http://schemas.openxmlformats.org/officeDocument/2006/relationships/image" Target="../media/image83.jpeg"/><Relationship Id="rId4" Type="http://schemas.openxmlformats.org/officeDocument/2006/relationships/image" Target="../media/image70.png"/><Relationship Id="rId5" Type="http://schemas.openxmlformats.org/officeDocument/2006/relationships/image" Target="../media/image84.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0.xml"/><Relationship Id="rId3" Type="http://schemas.openxmlformats.org/officeDocument/2006/relationships/image" Target="../media/image70.png"/><Relationship Id="rId4" Type="http://schemas.openxmlformats.org/officeDocument/2006/relationships/image" Target="../media/image84.svg"/><Relationship Id="rId5" Type="http://schemas.openxmlformats.org/officeDocument/2006/relationships/image" Target="../media/image85.png"/><Relationship Id="rId6" Type="http://schemas.openxmlformats.org/officeDocument/2006/relationships/image" Target="../media/image86.png"/><Relationship Id="rId7" Type="http://schemas.openxmlformats.org/officeDocument/2006/relationships/image" Target="../media/image8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1.xml"/><Relationship Id="rId3" Type="http://schemas.openxmlformats.org/officeDocument/2006/relationships/image" Target="../media/image70.png"/><Relationship Id="rId4" Type="http://schemas.openxmlformats.org/officeDocument/2006/relationships/image" Target="../media/image84.svg"/><Relationship Id="rId5" Type="http://schemas.openxmlformats.org/officeDocument/2006/relationships/image" Target="../media/image41.jpeg"/><Relationship Id="rId6" Type="http://schemas.openxmlformats.org/officeDocument/2006/relationships/image" Target="../media/image8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2.xml"/><Relationship Id="rId3" Type="http://schemas.openxmlformats.org/officeDocument/2006/relationships/image" Target="../media/image89.jpg"/><Relationship Id="rId4" Type="http://schemas.openxmlformats.org/officeDocument/2006/relationships/image" Target="../media/image90.png"/><Relationship Id="rId5" Type="http://schemas.openxmlformats.org/officeDocument/2006/relationships/image" Target="../media/image91.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3.xml"/><Relationship Id="rId3" Type="http://schemas.openxmlformats.org/officeDocument/2006/relationships/image" Target="../media/image72.png"/><Relationship Id="rId4" Type="http://schemas.openxmlformats.org/officeDocument/2006/relationships/image" Target="../media/image73.svg"/><Relationship Id="rId5" Type="http://schemas.openxmlformats.org/officeDocument/2006/relationships/image" Target="../media/image80.png"/><Relationship Id="rId6" Type="http://schemas.openxmlformats.org/officeDocument/2006/relationships/image" Target="../media/image92.png"/><Relationship Id="rId7" Type="http://schemas.openxmlformats.org/officeDocument/2006/relationships/image" Target="../media/image5.png"/><Relationship Id="rId8" Type="http://schemas.openxmlformats.org/officeDocument/2006/relationships/image" Target="../media/image6.svg"/><Relationship Id="rId9" Type="http://schemas.openxmlformats.org/officeDocument/2006/relationships/image" Target="../media/image81.png"/><Relationship Id="rId10" Type="http://schemas.openxmlformats.org/officeDocument/2006/relationships/image" Target="../media/image74.png"/><Relationship Id="rId11" Type="http://schemas.openxmlformats.org/officeDocument/2006/relationships/image" Target="../media/image93.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4.xml"/><Relationship Id="rId3" Type="http://schemas.openxmlformats.org/officeDocument/2006/relationships/image" Target="../media/image74.png"/><Relationship Id="rId4" Type="http://schemas.openxmlformats.org/officeDocument/2006/relationships/image" Target="../media/image75.svg"/><Relationship Id="rId5" Type="http://schemas.openxmlformats.org/officeDocument/2006/relationships/image" Target="../media/image80.png"/><Relationship Id="rId6" Type="http://schemas.openxmlformats.org/officeDocument/2006/relationships/image" Target="../media/image94.png"/><Relationship Id="rId7" Type="http://schemas.microsoft.com/office/2007/relationships/hdphoto" Target="../media/hdphoto1.wdp"/></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5.xml"/><Relationship Id="rId3" Type="http://schemas.openxmlformats.org/officeDocument/2006/relationships/image" Target="../media/image68.png"/><Relationship Id="rId4" Type="http://schemas.openxmlformats.org/officeDocument/2006/relationships/image" Target="../media/image95.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6.xml"/><Relationship Id="rId3" Type="http://schemas.openxmlformats.org/officeDocument/2006/relationships/image" Target="../media/image96.png"/><Relationship Id="rId4" Type="http://schemas.openxmlformats.org/officeDocument/2006/relationships/image" Target="../media/image97.svg"/><Relationship Id="rId5" Type="http://schemas.openxmlformats.org/officeDocument/2006/relationships/image" Target="../media/image68.png"/><Relationship Id="rId6" Type="http://schemas.openxmlformats.org/officeDocument/2006/relationships/image" Target="../media/image69.svg"/><Relationship Id="rId7" Type="http://schemas.openxmlformats.org/officeDocument/2006/relationships/image" Target="../media/image74.png"/><Relationship Id="rId8" Type="http://schemas.openxmlformats.org/officeDocument/2006/relationships/image" Target="../media/image98.svg"/><Relationship Id="rId9" Type="http://schemas.openxmlformats.org/officeDocument/2006/relationships/image" Target="../media/image99.png"/><Relationship Id="rId10" Type="http://schemas.openxmlformats.org/officeDocument/2006/relationships/image" Target="../media/image100.svg"/><Relationship Id="rId11" Type="http://schemas.openxmlformats.org/officeDocument/2006/relationships/image" Target="../media/image62.png"/><Relationship Id="rId12" Type="http://schemas.openxmlformats.org/officeDocument/2006/relationships/image" Target="../media/image63.svg"/><Relationship Id="rId13" Type="http://schemas.openxmlformats.org/officeDocument/2006/relationships/image" Target="../media/image101.png"/><Relationship Id="rId14" Type="http://schemas.openxmlformats.org/officeDocument/2006/relationships/image" Target="../media/image102.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7.xml"/><Relationship Id="rId3" Type="http://schemas.openxmlformats.org/officeDocument/2006/relationships/image" Target="../media/image99.png"/><Relationship Id="rId4" Type="http://schemas.openxmlformats.org/officeDocument/2006/relationships/image" Target="../media/image103.svg"/><Relationship Id="rId5" Type="http://schemas.openxmlformats.org/officeDocument/2006/relationships/image" Target="../media/image104.jpeg"/><Relationship Id="rId6" Type="http://schemas.openxmlformats.org/officeDocument/2006/relationships/image" Target="../media/image105.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8.xml"/><Relationship Id="rId3" Type="http://schemas.openxmlformats.org/officeDocument/2006/relationships/image" Target="../media/image99.png"/><Relationship Id="rId4" Type="http://schemas.openxmlformats.org/officeDocument/2006/relationships/image" Target="../media/image103.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9.xml"/><Relationship Id="rId3" Type="http://schemas.openxmlformats.org/officeDocument/2006/relationships/image" Target="../media/image24.png"/><Relationship Id="rId4" Type="http://schemas.openxmlformats.org/officeDocument/2006/relationships/image" Target="../media/image25.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3.xml"/><Relationship Id="rId3" Type="http://schemas.openxmlformats.org/officeDocument/2006/relationships/image" Target="../media/image2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0.xml"/><Relationship Id="rId3" Type="http://schemas.openxmlformats.org/officeDocument/2006/relationships/image" Target="../media/image54.png"/><Relationship Id="rId4" Type="http://schemas.openxmlformats.org/officeDocument/2006/relationships/image" Target="../media/image55.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1.xml"/><Relationship Id="rId3" Type="http://schemas.openxmlformats.org/officeDocument/2006/relationships/image" Target="../media/image74.png"/><Relationship Id="rId4" Type="http://schemas.openxmlformats.org/officeDocument/2006/relationships/image" Target="../media/image98.svg"/><Relationship Id="rId5" Type="http://schemas.openxmlformats.org/officeDocument/2006/relationships/image" Target="../media/image106.png"/><Relationship Id="rId6" Type="http://schemas.openxmlformats.org/officeDocument/2006/relationships/image" Target="../media/image107.svg"/><Relationship Id="rId7" Type="http://schemas.openxmlformats.org/officeDocument/2006/relationships/image" Target="../media/image108.png"/><Relationship Id="rId8" Type="http://schemas.openxmlformats.org/officeDocument/2006/relationships/image" Target="../media/image109.svg"/><Relationship Id="rId9" Type="http://schemas.openxmlformats.org/officeDocument/2006/relationships/image" Target="../media/image110.png"/><Relationship Id="rId10" Type="http://schemas.openxmlformats.org/officeDocument/2006/relationships/image" Target="../media/image111.svg"/><Relationship Id="rId11" Type="http://schemas.openxmlformats.org/officeDocument/2006/relationships/image" Target="../media/image46.png"/><Relationship Id="rId12" Type="http://schemas.openxmlformats.org/officeDocument/2006/relationships/image" Target="../media/image47.svg"/><Relationship Id="rId13" Type="http://schemas.openxmlformats.org/officeDocument/2006/relationships/image" Target="../media/image112.png"/><Relationship Id="rId14" Type="http://schemas.openxmlformats.org/officeDocument/2006/relationships/image" Target="../media/image113.svg"/><Relationship Id="rId15" Type="http://schemas.openxmlformats.org/officeDocument/2006/relationships/image" Target="../media/image114.jpeg"/><Relationship Id="rId16" Type="http://schemas.openxmlformats.org/officeDocument/2006/relationships/image" Target="../media/image115.jpeg"/><Relationship Id="rId17" Type="http://schemas.openxmlformats.org/officeDocument/2006/relationships/image" Target="../media/image116.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2.xml"/><Relationship Id="rId3" Type="http://schemas.openxmlformats.org/officeDocument/2006/relationships/image" Target="../media/image117.jpg"/><Relationship Id="rId4" Type="http://schemas.openxmlformats.org/officeDocument/2006/relationships/image" Target="../media/image118.jpg"/><Relationship Id="rId5" Type="http://schemas.openxmlformats.org/officeDocument/2006/relationships/image" Target="../media/image74.png"/><Relationship Id="rId6" Type="http://schemas.openxmlformats.org/officeDocument/2006/relationships/image" Target="../media/image93.svg"/><Relationship Id="rId7" Type="http://schemas.openxmlformats.org/officeDocument/2006/relationships/image" Target="../media/image119.jpg"/><Relationship Id="rId8" Type="http://schemas.openxmlformats.org/officeDocument/2006/relationships/image" Target="../media/image108.png"/><Relationship Id="rId9" Type="http://schemas.openxmlformats.org/officeDocument/2006/relationships/image" Target="../media/image109.svg"/><Relationship Id="rId10" Type="http://schemas.openxmlformats.org/officeDocument/2006/relationships/image" Target="../media/image120.png"/><Relationship Id="rId11" Type="http://schemas.openxmlformats.org/officeDocument/2006/relationships/image" Target="../media/image121.svg"/></Relationships>
</file>

<file path=ppt/slides/_rels/slide33.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slideLayout" Target="../slideLayouts/slideLayout28.xml"/><Relationship Id="rId5" Type="http://schemas.openxmlformats.org/officeDocument/2006/relationships/notesSlide" Target="../notesSlides/notesSlide33.xml"/><Relationship Id="rId6" Type="http://schemas.openxmlformats.org/officeDocument/2006/relationships/image" Target="../media/image74.png"/><Relationship Id="rId7" Type="http://schemas.openxmlformats.org/officeDocument/2006/relationships/image" Target="../media/image98.svg"/><Relationship Id="rId8" Type="http://schemas.openxmlformats.org/officeDocument/2006/relationships/chart" Target="../charts/chart1.xml"/><Relationship Id="rId9" Type="http://schemas.openxmlformats.org/officeDocument/2006/relationships/chart" Target="../charts/chart2.xml"/><Relationship Id="rId10" Type="http://schemas.openxmlformats.org/officeDocument/2006/relationships/chart" Target="../charts/chart3.xml"/><Relationship Id="rId11" Type="http://schemas.openxmlformats.org/officeDocument/2006/relationships/image" Target="../media/image106.png"/><Relationship Id="rId12" Type="http://schemas.openxmlformats.org/officeDocument/2006/relationships/image" Target="../media/image107.svg"/><Relationship Id="rId13" Type="http://schemas.openxmlformats.org/officeDocument/2006/relationships/image" Target="../media/image108.png"/><Relationship Id="rId14" Type="http://schemas.openxmlformats.org/officeDocument/2006/relationships/image" Target="../media/image109.svg"/><Relationship Id="rId15" Type="http://schemas.openxmlformats.org/officeDocument/2006/relationships/image" Target="../media/image122.png"/><Relationship Id="rId16" Type="http://schemas.openxmlformats.org/officeDocument/2006/relationships/image" Target="../media/image123.svg"/><Relationship Id="rId17" Type="http://schemas.openxmlformats.org/officeDocument/2006/relationships/image" Target="../media/image124.jpeg"/><Relationship Id="rId18" Type="http://schemas.openxmlformats.org/officeDocument/2006/relationships/image" Target="../media/image125.png"/><Relationship Id="rId19" Type="http://schemas.openxmlformats.org/officeDocument/2006/relationships/image" Target="../media/image126.svg"/><Relationship Id="rId20" Type="http://schemas.openxmlformats.org/officeDocument/2006/relationships/image" Target="../media/image127.png"/><Relationship Id="rId21" Type="http://schemas.openxmlformats.org/officeDocument/2006/relationships/image" Target="../media/image128.jpeg"/><Relationship Id="rId22" Type="http://schemas.openxmlformats.org/officeDocument/2006/relationships/image" Target="../media/image12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4.xml"/><Relationship Id="rId3" Type="http://schemas.openxmlformats.org/officeDocument/2006/relationships/image" Target="../media/image74.png"/><Relationship Id="rId4" Type="http://schemas.openxmlformats.org/officeDocument/2006/relationships/image" Target="../media/image98.svg"/><Relationship Id="rId5" Type="http://schemas.openxmlformats.org/officeDocument/2006/relationships/image" Target="../media/image130.png"/><Relationship Id="rId6" Type="http://schemas.openxmlformats.org/officeDocument/2006/relationships/image" Target="../media/image125.png"/><Relationship Id="rId7" Type="http://schemas.openxmlformats.org/officeDocument/2006/relationships/image" Target="../media/image126.svg"/><Relationship Id="rId8" Type="http://schemas.openxmlformats.org/officeDocument/2006/relationships/image" Target="../media/image131.png"/><Relationship Id="rId9" Type="http://schemas.openxmlformats.org/officeDocument/2006/relationships/image" Target="../media/image132.png"/><Relationship Id="rId10" Type="http://schemas.openxmlformats.org/officeDocument/2006/relationships/image" Target="../media/image133.png"/><Relationship Id="rId11" Type="http://schemas.openxmlformats.org/officeDocument/2006/relationships/image" Target="../media/image134.jpeg"/><Relationship Id="rId12" Type="http://schemas.openxmlformats.org/officeDocument/2006/relationships/image" Target="../media/image135.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5.xml"/><Relationship Id="rId3" Type="http://schemas.openxmlformats.org/officeDocument/2006/relationships/image" Target="../media/image74.png"/><Relationship Id="rId4" Type="http://schemas.openxmlformats.org/officeDocument/2006/relationships/image" Target="../media/image98.svg"/><Relationship Id="rId5" Type="http://schemas.openxmlformats.org/officeDocument/2006/relationships/image" Target="../media/image136.png"/><Relationship Id="rId6" Type="http://schemas.openxmlformats.org/officeDocument/2006/relationships/image" Target="../media/image137.png"/><Relationship Id="rId7" Type="http://schemas.openxmlformats.org/officeDocument/2006/relationships/image" Target="../media/image138.jp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6.xml"/><Relationship Id="rId3" Type="http://schemas.openxmlformats.org/officeDocument/2006/relationships/image" Target="../media/image62.png"/><Relationship Id="rId4" Type="http://schemas.openxmlformats.org/officeDocument/2006/relationships/image" Target="../media/image63.svg"/><Relationship Id="rId5" Type="http://schemas.openxmlformats.org/officeDocument/2006/relationships/image" Target="../media/image139.png"/><Relationship Id="rId6" Type="http://schemas.openxmlformats.org/officeDocument/2006/relationships/image" Target="../media/image140.svg"/><Relationship Id="rId7" Type="http://schemas.openxmlformats.org/officeDocument/2006/relationships/image" Target="../media/image141.png"/><Relationship Id="rId8" Type="http://schemas.openxmlformats.org/officeDocument/2006/relationships/image" Target="../media/image142.sv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7.xml"/><Relationship Id="rId3" Type="http://schemas.openxmlformats.org/officeDocument/2006/relationships/image" Target="../media/image24.png"/><Relationship Id="rId4" Type="http://schemas.openxmlformats.org/officeDocument/2006/relationships/image" Target="../media/image25.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8.xml"/><Relationship Id="rId3" Type="http://schemas.openxmlformats.org/officeDocument/2006/relationships/image" Target="../media/image62.png"/><Relationship Id="rId4" Type="http://schemas.openxmlformats.org/officeDocument/2006/relationships/image" Target="../media/image63.svg"/><Relationship Id="rId5" Type="http://schemas.openxmlformats.org/officeDocument/2006/relationships/image" Target="../media/image143.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xml"/><Relationship Id="rId3" Type="http://schemas.openxmlformats.org/officeDocument/2006/relationships/image" Target="../media/image24.png"/><Relationship Id="rId4" Type="http://schemas.openxmlformats.org/officeDocument/2006/relationships/image" Target="../media/image25.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42.xml"/><Relationship Id="rId3" Type="http://schemas.openxmlformats.org/officeDocument/2006/relationships/image" Target="../media/image68.png"/><Relationship Id="rId4" Type="http://schemas.openxmlformats.org/officeDocument/2006/relationships/image" Target="../media/image69.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3.xml"/><Relationship Id="rId3" Type="http://schemas.openxmlformats.org/officeDocument/2006/relationships/image" Target="../media/image144.png"/><Relationship Id="rId4" Type="http://schemas.openxmlformats.org/officeDocument/2006/relationships/image" Target="../media/image145.svg"/><Relationship Id="rId5" Type="http://schemas.openxmlformats.org/officeDocument/2006/relationships/image" Target="../media/image146.png"/><Relationship Id="rId6" Type="http://schemas.openxmlformats.org/officeDocument/2006/relationships/image" Target="../media/image147.svg"/><Relationship Id="rId7" Type="http://schemas.openxmlformats.org/officeDocument/2006/relationships/image" Target="../media/image148.png"/><Relationship Id="rId8" Type="http://schemas.openxmlformats.org/officeDocument/2006/relationships/image" Target="../media/image149.svg"/><Relationship Id="rId9" Type="http://schemas.openxmlformats.org/officeDocument/2006/relationships/image" Target="../media/image150.png"/><Relationship Id="rId10" Type="http://schemas.openxmlformats.org/officeDocument/2006/relationships/image" Target="../media/image15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4.xml"/><Relationship Id="rId3" Type="http://schemas.openxmlformats.org/officeDocument/2006/relationships/image" Target="../media/image152.png"/><Relationship Id="rId4" Type="http://schemas.openxmlformats.org/officeDocument/2006/relationships/image" Target="../media/image153.svg"/><Relationship Id="rId5" Type="http://schemas.openxmlformats.org/officeDocument/2006/relationships/image" Target="../media/image144.png"/><Relationship Id="rId6" Type="http://schemas.openxmlformats.org/officeDocument/2006/relationships/image" Target="../media/image154.svg"/><Relationship Id="rId7" Type="http://schemas.openxmlformats.org/officeDocument/2006/relationships/image" Target="../media/image155.png"/><Relationship Id="rId8" Type="http://schemas.openxmlformats.org/officeDocument/2006/relationships/image" Target="../media/image156.svg"/><Relationship Id="rId9" Type="http://schemas.openxmlformats.org/officeDocument/2006/relationships/image" Target="../media/image157.png"/><Relationship Id="rId10" Type="http://schemas.openxmlformats.org/officeDocument/2006/relationships/image" Target="../media/image158.svg"/><Relationship Id="rId11" Type="http://schemas.openxmlformats.org/officeDocument/2006/relationships/image" Target="../media/image159.png"/><Relationship Id="rId12" Type="http://schemas.openxmlformats.org/officeDocument/2006/relationships/image" Target="../media/image160.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5.xml"/><Relationship Id="rId3" Type="http://schemas.openxmlformats.org/officeDocument/2006/relationships/image" Target="../media/image24.png"/><Relationship Id="rId4" Type="http://schemas.openxmlformats.org/officeDocument/2006/relationships/image" Target="../media/image25.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6.xml"/><Relationship Id="rId3" Type="http://schemas.openxmlformats.org/officeDocument/2006/relationships/image" Target="../media/image161.jpg"/><Relationship Id="rId4" Type="http://schemas.openxmlformats.org/officeDocument/2006/relationships/image" Target="../media/image144.png"/><Relationship Id="rId5" Type="http://schemas.openxmlformats.org/officeDocument/2006/relationships/image" Target="../media/image154.svg"/><Relationship Id="rId6" Type="http://schemas.openxmlformats.org/officeDocument/2006/relationships/image" Target="../media/image162.jpeg"/><Relationship Id="rId7" Type="http://schemas.openxmlformats.org/officeDocument/2006/relationships/image" Target="../media/image163.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7.xml"/><Relationship Id="rId3" Type="http://schemas.openxmlformats.org/officeDocument/2006/relationships/image" Target="../media/image146.png"/><Relationship Id="rId4" Type="http://schemas.openxmlformats.org/officeDocument/2006/relationships/image" Target="../media/image164.svg"/><Relationship Id="rId5" Type="http://schemas.openxmlformats.org/officeDocument/2006/relationships/image" Target="../media/image46.png"/><Relationship Id="rId6" Type="http://schemas.openxmlformats.org/officeDocument/2006/relationships/image" Target="../media/image47.svg"/><Relationship Id="rId7" Type="http://schemas.openxmlformats.org/officeDocument/2006/relationships/image" Target="../media/image165.png"/><Relationship Id="rId8" Type="http://schemas.openxmlformats.org/officeDocument/2006/relationships/image" Target="../media/image166.png"/><Relationship Id="rId9" Type="http://schemas.openxmlformats.org/officeDocument/2006/relationships/image" Target="../media/image167.png"/><Relationship Id="rId10" Type="http://schemas.openxmlformats.org/officeDocument/2006/relationships/image" Target="../media/image168.svg"/><Relationship Id="rId11" Type="http://schemas.openxmlformats.org/officeDocument/2006/relationships/image" Target="../media/image169.png"/><Relationship Id="rId12" Type="http://schemas.openxmlformats.org/officeDocument/2006/relationships/image" Target="../media/image170.png"/><Relationship Id="rId13" Type="http://schemas.openxmlformats.org/officeDocument/2006/relationships/image" Target="../media/image171.svg"/><Relationship Id="rId14" Type="http://schemas.openxmlformats.org/officeDocument/2006/relationships/image" Target="../media/image172.png"/><Relationship Id="rId15" Type="http://schemas.openxmlformats.org/officeDocument/2006/relationships/image" Target="../media/image173.svg"/><Relationship Id="rId16" Type="http://schemas.openxmlformats.org/officeDocument/2006/relationships/image" Target="../media/image174.png"/><Relationship Id="rId17" Type="http://schemas.openxmlformats.org/officeDocument/2006/relationships/image" Target="../media/image17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8.xml"/><Relationship Id="rId3" Type="http://schemas.openxmlformats.org/officeDocument/2006/relationships/image" Target="../media/image24.png"/><Relationship Id="rId4" Type="http://schemas.openxmlformats.org/officeDocument/2006/relationships/image" Target="../media/image25.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9.xml"/><Relationship Id="rId3" Type="http://schemas.openxmlformats.org/officeDocument/2006/relationships/image" Target="../media/image146.png"/><Relationship Id="rId4" Type="http://schemas.openxmlformats.org/officeDocument/2006/relationships/image" Target="../media/image164.svg"/><Relationship Id="rId5" Type="http://schemas.openxmlformats.org/officeDocument/2006/relationships/image" Target="../media/image17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xml"/><Relationship Id="rId3" Type="http://schemas.openxmlformats.org/officeDocument/2006/relationships/image" Target="../media/image26.jpeg"/><Relationship Id="rId4" Type="http://schemas.openxmlformats.org/officeDocument/2006/relationships/image" Target="../media/image27.jpeg"/><Relationship Id="rId5" Type="http://schemas.openxmlformats.org/officeDocument/2006/relationships/image" Target="../media/image28.jpeg"/><Relationship Id="rId6" Type="http://schemas.openxmlformats.org/officeDocument/2006/relationships/image" Target="../media/image29.jpeg"/><Relationship Id="rId7" Type="http://schemas.openxmlformats.org/officeDocument/2006/relationships/image" Target="../media/image30.jpeg"/><Relationship Id="rId8" Type="http://schemas.openxmlformats.org/officeDocument/2006/relationships/image" Target="../media/image31.jpeg"/><Relationship Id="rId9" Type="http://schemas.openxmlformats.org/officeDocument/2006/relationships/image" Target="../media/image32.jpeg"/><Relationship Id="rId10" Type="http://schemas.openxmlformats.org/officeDocument/2006/relationships/image" Target="../media/image33.jpeg"/><Relationship Id="rId11" Type="http://schemas.openxmlformats.org/officeDocument/2006/relationships/image" Target="../media/image34.jpeg"/><Relationship Id="rId12" Type="http://schemas.openxmlformats.org/officeDocument/2006/relationships/image" Target="../media/image35.jpeg"/><Relationship Id="rId13" Type="http://schemas.openxmlformats.org/officeDocument/2006/relationships/image" Target="../media/image36.jpeg"/><Relationship Id="rId14" Type="http://schemas.openxmlformats.org/officeDocument/2006/relationships/image" Target="../media/image37.jpeg"/><Relationship Id="rId15" Type="http://schemas.openxmlformats.org/officeDocument/2006/relationships/image" Target="../media/image38.jpeg"/><Relationship Id="rId16" Type="http://schemas.openxmlformats.org/officeDocument/2006/relationships/image" Target="../media/image39.jpeg"/><Relationship Id="rId17" Type="http://schemas.openxmlformats.org/officeDocument/2006/relationships/image" Target="../media/image40.jpeg"/><Relationship Id="rId18" Type="http://schemas.openxmlformats.org/officeDocument/2006/relationships/image" Target="../media/image41.jpeg"/><Relationship Id="rId19" Type="http://schemas.openxmlformats.org/officeDocument/2006/relationships/image" Target="../media/image42.jpeg"/><Relationship Id="rId20" Type="http://schemas.openxmlformats.org/officeDocument/2006/relationships/image" Target="../media/image43.jpeg"/><Relationship Id="rId21" Type="http://schemas.openxmlformats.org/officeDocument/2006/relationships/image" Target="../media/image44.jpeg"/><Relationship Id="rId22" Type="http://schemas.openxmlformats.org/officeDocument/2006/relationships/image" Target="../media/image45.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0.xml"/><Relationship Id="rId3" Type="http://schemas.openxmlformats.org/officeDocument/2006/relationships/image" Target="../media/image177.jpeg"/><Relationship Id="rId4" Type="http://schemas.openxmlformats.org/officeDocument/2006/relationships/image" Target="../media/image148.png"/><Relationship Id="rId5" Type="http://schemas.openxmlformats.org/officeDocument/2006/relationships/image" Target="../media/image178.svg"/><Relationship Id="rId6" Type="http://schemas.openxmlformats.org/officeDocument/2006/relationships/image" Target="../media/image46.png"/><Relationship Id="rId7" Type="http://schemas.openxmlformats.org/officeDocument/2006/relationships/image" Target="../media/image47.svg"/><Relationship Id="rId8" Type="http://schemas.openxmlformats.org/officeDocument/2006/relationships/image" Target="../media/image179.png"/><Relationship Id="rId9" Type="http://schemas.openxmlformats.org/officeDocument/2006/relationships/image" Target="../media/image180.svg"/><Relationship Id="rId10" Type="http://schemas.openxmlformats.org/officeDocument/2006/relationships/image" Target="../media/image181.png"/><Relationship Id="rId11" Type="http://schemas.openxmlformats.org/officeDocument/2006/relationships/image" Target="../media/image182.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1.xml"/><Relationship Id="rId3" Type="http://schemas.openxmlformats.org/officeDocument/2006/relationships/image" Target="../media/image148.png"/><Relationship Id="rId4" Type="http://schemas.openxmlformats.org/officeDocument/2006/relationships/image" Target="../media/image183.svg"/><Relationship Id="rId5" Type="http://schemas.openxmlformats.org/officeDocument/2006/relationships/image" Target="../media/image184.jpeg"/><Relationship Id="rId6" Type="http://schemas.openxmlformats.org/officeDocument/2006/relationships/image" Target="../media/image185.png"/><Relationship Id="rId7" Type="http://schemas.openxmlformats.org/officeDocument/2006/relationships/image" Target="../media/image186.png"/><Relationship Id="rId8" Type="http://schemas.openxmlformats.org/officeDocument/2006/relationships/image" Target="../media/image187.svg"/><Relationship Id="rId9" Type="http://schemas.openxmlformats.org/officeDocument/2006/relationships/image" Target="../media/image188.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2.xml"/><Relationship Id="rId3" Type="http://schemas.openxmlformats.org/officeDocument/2006/relationships/image" Target="../media/image189.jpg"/><Relationship Id="rId4" Type="http://schemas.openxmlformats.org/officeDocument/2006/relationships/image" Target="../media/image90.png"/><Relationship Id="rId5" Type="http://schemas.openxmlformats.org/officeDocument/2006/relationships/image" Target="../media/image91.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3.xml"/><Relationship Id="rId3" Type="http://schemas.openxmlformats.org/officeDocument/2006/relationships/image" Target="../media/image190.png"/><Relationship Id="rId4" Type="http://schemas.openxmlformats.org/officeDocument/2006/relationships/image" Target="../media/image191.svg"/><Relationship Id="rId5" Type="http://schemas.openxmlformats.org/officeDocument/2006/relationships/image" Target="../media/image192.jpe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4.xml"/><Relationship Id="rId3" Type="http://schemas.openxmlformats.org/officeDocument/2006/relationships/image" Target="../media/image190.png"/><Relationship Id="rId4" Type="http://schemas.openxmlformats.org/officeDocument/2006/relationships/image" Target="../media/image193.svg"/><Relationship Id="rId5" Type="http://schemas.openxmlformats.org/officeDocument/2006/relationships/image" Target="../media/image19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55.xml"/><Relationship Id="rId3" Type="http://schemas.openxmlformats.org/officeDocument/2006/relationships/image" Target="../media/image68.png"/><Relationship Id="rId4" Type="http://schemas.openxmlformats.org/officeDocument/2006/relationships/image" Target="../media/image69.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6.xml"/><Relationship Id="rId3" Type="http://schemas.microsoft.com/office/2018/10/relationships/comments" Target="../comments/modernComment_144_C3B4110F.xml"/><Relationship Id="rId4" Type="http://schemas.openxmlformats.org/officeDocument/2006/relationships/image" Target="../media/image46.png"/><Relationship Id="rId5" Type="http://schemas.openxmlformats.org/officeDocument/2006/relationships/image" Target="../media/image47.svg"/><Relationship Id="rId6" Type="http://schemas.openxmlformats.org/officeDocument/2006/relationships/image" Target="../media/image195.emf"/><Relationship Id="rId7" Type="http://schemas.openxmlformats.org/officeDocument/2006/relationships/image" Target="../media/image196.png"/><Relationship Id="rId8" Type="http://schemas.openxmlformats.org/officeDocument/2006/relationships/image" Target="../media/image197.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7.xml"/><Relationship Id="rId3" Type="http://schemas.openxmlformats.org/officeDocument/2006/relationships/image" Target="../media/image34.jpeg"/><Relationship Id="rId4" Type="http://schemas.openxmlformats.org/officeDocument/2006/relationships/image" Target="../media/image37.jpeg"/><Relationship Id="rId5" Type="http://schemas.openxmlformats.org/officeDocument/2006/relationships/image" Target="../media/image196.png"/><Relationship Id="rId6" Type="http://schemas.openxmlformats.org/officeDocument/2006/relationships/image" Target="../media/image197.sv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8.xml"/><Relationship Id="rId3" Type="http://schemas.openxmlformats.org/officeDocument/2006/relationships/image" Target="../media/image198.jpg"/><Relationship Id="rId4" Type="http://schemas.openxmlformats.org/officeDocument/2006/relationships/image" Target="../media/image90.png"/><Relationship Id="rId5" Type="http://schemas.openxmlformats.org/officeDocument/2006/relationships/image" Target="../media/image91.sv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6.xml"/><Relationship Id="rId3" Type="http://schemas.openxmlformats.org/officeDocument/2006/relationships/image" Target="../media/image23.png"/><Relationship Id="rId4" Type="http://schemas.openxmlformats.org/officeDocument/2006/relationships/image" Target="../media/image46.png"/><Relationship Id="rId5" Type="http://schemas.openxmlformats.org/officeDocument/2006/relationships/image" Target="../media/image47.svg"/><Relationship Id="rId6" Type="http://schemas.openxmlformats.org/officeDocument/2006/relationships/image" Target="../media/image48.png"/><Relationship Id="rId7" Type="http://schemas.openxmlformats.org/officeDocument/2006/relationships/image" Target="../media/image49.svg"/><Relationship Id="rId8" Type="http://schemas.openxmlformats.org/officeDocument/2006/relationships/image" Target="../media/image50.png"/><Relationship Id="rId9" Type="http://schemas.openxmlformats.org/officeDocument/2006/relationships/image" Target="../media/image51.svg"/><Relationship Id="rId10" Type="http://schemas.openxmlformats.org/officeDocument/2006/relationships/image" Target="../media/image52.png"/><Relationship Id="rId11" Type="http://schemas.openxmlformats.org/officeDocument/2006/relationships/image" Target="../media/image53.sv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60.xml"/><Relationship Id="rId3" Type="http://schemas.openxmlformats.org/officeDocument/2006/relationships/image" Target="../media/image199.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61.xml"/><Relationship Id="rId3" Type="http://schemas.openxmlformats.org/officeDocument/2006/relationships/image" Target="../media/image199.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62.xml"/><Relationship Id="rId3" Type="http://schemas.openxmlformats.org/officeDocument/2006/relationships/image" Target="../media/image54.png"/><Relationship Id="rId4" Type="http://schemas.openxmlformats.org/officeDocument/2006/relationships/image" Target="../media/image55.sv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3.xml"/><Relationship Id="rId3" Type="http://schemas.openxmlformats.org/officeDocument/2006/relationships/image" Target="../media/image24.png"/><Relationship Id="rId4" Type="http://schemas.openxmlformats.org/officeDocument/2006/relationships/image" Target="../media/image25.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5.xml"/><Relationship Id="rId3" Type="http://schemas.openxmlformats.org/officeDocument/2006/relationships/image" Target="../media/image5.png"/><Relationship Id="rId4" Type="http://schemas.openxmlformats.org/officeDocument/2006/relationships/image" Target="../media/image6.svg"/><Relationship Id="rId5" Type="http://schemas.openxmlformats.org/officeDocument/2006/relationships/image" Target="../media/image21.png"/><Relationship Id="rId6" Type="http://schemas.openxmlformats.org/officeDocument/2006/relationships/image" Target="../media/image22.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7.xml"/><Relationship Id="rId3" Type="http://schemas.openxmlformats.org/officeDocument/2006/relationships/image" Target="../media/image54.png"/><Relationship Id="rId4" Type="http://schemas.openxmlformats.org/officeDocument/2006/relationships/image" Target="../media/image5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8.xml"/><Relationship Id="rId3" Type="http://schemas.openxmlformats.org/officeDocument/2006/relationships/image" Target="../media/image56.png"/><Relationship Id="rId4" Type="http://schemas.openxmlformats.org/officeDocument/2006/relationships/image" Target="../media/image57.svg"/><Relationship Id="rId5" Type="http://schemas.openxmlformats.org/officeDocument/2006/relationships/image" Target="../media/image58.png"/><Relationship Id="rId6" Type="http://schemas.openxmlformats.org/officeDocument/2006/relationships/image" Target="../media/image59.svg"/><Relationship Id="rId7" Type="http://schemas.openxmlformats.org/officeDocument/2006/relationships/image" Target="../media/image60.png"/><Relationship Id="rId8" Type="http://schemas.openxmlformats.org/officeDocument/2006/relationships/image" Target="../media/image61.svg"/><Relationship Id="rId9" Type="http://schemas.openxmlformats.org/officeDocument/2006/relationships/image" Target="../media/image62.png"/><Relationship Id="rId10" Type="http://schemas.openxmlformats.org/officeDocument/2006/relationships/image" Target="../media/image63.svg"/><Relationship Id="rId11" Type="http://schemas.openxmlformats.org/officeDocument/2006/relationships/image" Target="../media/image64.png"/><Relationship Id="rId12" Type="http://schemas.openxmlformats.org/officeDocument/2006/relationships/image" Target="../media/image65.svg"/><Relationship Id="rId13" Type="http://schemas.openxmlformats.org/officeDocument/2006/relationships/image" Target="../media/image66.png"/><Relationship Id="rId14" Type="http://schemas.openxmlformats.org/officeDocument/2006/relationships/image" Target="../media/image67.svg"/><Relationship Id="rId15" Type="http://schemas.openxmlformats.org/officeDocument/2006/relationships/image" Target="../media/image21.png"/><Relationship Id="rId16" Type="http://schemas.openxmlformats.org/officeDocument/2006/relationships/image" Target="../media/image22.svg"/><Relationship Id="rId17" Type="http://schemas.openxmlformats.org/officeDocument/2006/relationships/image" Target="../media/image5.png"/><Relationship Id="rId18" Type="http://schemas.openxmlformats.org/officeDocument/2006/relationships/image" Target="../media/image6.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0461E146-B8A4-3B1B-CA67-C77EE72F0B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23591F-A7B4-1D43-A8FA-117BA6609345}"/>
              </a:ext>
            </a:extLst>
          </p:cNvPr>
          <p:cNvSpPr>
            <a:spLocks noGrp="1"/>
          </p:cNvSpPr>
          <p:nvPr>
            <p:ph type="title"/>
          </p:nvPr>
        </p:nvSpPr>
        <p:spPr>
          <a:xfrm>
            <a:off x="451379" y="1243750"/>
            <a:ext cx="8221663" cy="2656001"/>
          </a:xfrm>
        </p:spPr>
        <p:txBody>
          <a:bodyPr anchor="ctr"/>
          <a:lstStyle/>
          <a:p>
            <a:r>
              <a:t>Texte :</a:t>
            </a:r>
          </a:p>
          <a:p>
            <a:r>
              <a:t>Tous NBU</a:t>
            </a:r>
          </a:p>
          <a:p>
            <a:r>
              <a:t>Stratégie</a:t>
            </a:r>
          </a:p>
          <a:p>
            <a:r>
              <a:t>Cascade</a:t>
            </a:r>
          </a:p>
        </p:txBody>
      </p:sp>
      <p:sp>
        <p:nvSpPr>
          <p:cNvPr id="3" name="!!Subtitle 2">
            <a:extLst>
              <a:ext uri="{FF2B5EF4-FFF2-40B4-BE49-F238E27FC236}">
                <a16:creationId xmlns:a16="http://schemas.microsoft.com/office/drawing/2014/main" id="{3BC23792-4E22-8642-813C-5DE89161A001}"/>
              </a:ext>
            </a:extLst>
          </p:cNvPr>
          <p:cNvSpPr>
            <a:spLocks noGrp="1"/>
          </p:cNvSpPr>
          <p:nvPr>
            <p:ph type="subTitle" idx="1"/>
          </p:nvPr>
        </p:nvSpPr>
        <p:spPr>
          <a:xfrm>
            <a:off x="469308" y="3672590"/>
            <a:ext cx="8221663" cy="735037"/>
          </a:xfrm>
        </p:spPr>
        <p:txBody>
          <a:bodyPr/>
          <a:lstStyle/>
          <a:p>
            <a:r>
              <a:t>Texte :</a:t>
            </a:r>
          </a:p>
          <a:p>
            <a:r>
              <a:t>04.02.2025</a:t>
            </a:r>
          </a:p>
        </p:txBody>
      </p:sp>
      <p:pic>
        <p:nvPicPr>
          <p:cNvPr id="6" name="!!px_logo">
            <a:extLst>
              <a:ext uri="{FF2B5EF4-FFF2-40B4-BE49-F238E27FC236}">
                <a16:creationId xmlns:a16="http://schemas.microsoft.com/office/drawing/2014/main" id="{873EB3D3-1F05-9A04-0BD2-3AACDD71B40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0375" y="4279105"/>
            <a:ext cx="684532" cy="554831"/>
          </a:xfrm>
          <a:prstGeom prst="rect">
            <a:avLst/>
          </a:prstGeom>
        </p:spPr>
      </p:pic>
      <p:pic>
        <p:nvPicPr>
          <p:cNvPr id="8" name="Graphic 7">
            <a:extLst>
              <a:ext uri="{FF2B5EF4-FFF2-40B4-BE49-F238E27FC236}">
                <a16:creationId xmlns:a16="http://schemas.microsoft.com/office/drawing/2014/main" id="{7FC51CF4-09AA-0FB5-9A77-CD178C0567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1403" y="413544"/>
            <a:ext cx="3762474" cy="4316413"/>
          </a:xfrm>
          <a:prstGeom prst="rect">
            <a:avLst/>
          </a:prstGeom>
        </p:spPr>
      </p:pic>
    </p:spTree>
    <p:extLst>
      <p:ext uri="{BB962C8B-B14F-4D97-AF65-F5344CB8AC3E}">
        <p14:creationId xmlns:p14="http://schemas.microsoft.com/office/powerpoint/2010/main" val="2542970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26780ADA-862B-8792-E6F0-701E1B6BD03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47F8D78-3B6C-7F8E-4AAE-5F01B757FEAA}"/>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NBU 4.0</a:t>
            </a:r>
          </a:p>
        </p:txBody>
      </p:sp>
      <p:sp>
        <p:nvSpPr>
          <p:cNvPr id="2" name="TextBox 1">
            <a:extLst>
              <a:ext uri="{FF2B5EF4-FFF2-40B4-BE49-F238E27FC236}">
                <a16:creationId xmlns:a16="http://schemas.microsoft.com/office/drawing/2014/main" id="{92A6440A-1F50-E43C-F8B0-6F209BF95A78}"/>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1682278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51118A6-7258-A664-077F-F3DC10A3B88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5AB5842-B4FA-B88D-2966-0B347165EB16}"/>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a:t>
            </a:r>
          </a:p>
          <a:p>
            <a:r>
              <a:t>Excellence dans la livraison en plein bouleversement</a:t>
            </a:r>
          </a:p>
        </p:txBody>
      </p:sp>
    </p:spTree>
    <p:extLst>
      <p:ext uri="{BB962C8B-B14F-4D97-AF65-F5344CB8AC3E}">
        <p14:creationId xmlns:p14="http://schemas.microsoft.com/office/powerpoint/2010/main" val="1630820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497E8EF7-8E0D-478F-B98D-430782BBD408}"/>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33AC27BF-8F3B-64EF-90C2-D52561A5544F}"/>
              </a:ext>
            </a:extLst>
          </p:cNvPr>
          <p:cNvSpPr>
            <a:spLocks noGrp="1"/>
          </p:cNvSpPr>
          <p:nvPr>
            <p:ph type="body" sz="quarter" idx="13"/>
          </p:nvPr>
        </p:nvSpPr>
        <p:spPr>
          <a:xfrm>
            <a:off x="460369" y="923131"/>
            <a:ext cx="1908000" cy="3297238"/>
          </a:xfrm>
          <a:solidFill>
            <a:schemeClr val="tx1"/>
          </a:solidFill>
        </p:spPr>
        <p:txBody>
          <a:bodyPr tIns="1494000"/>
          <a:lstStyle/>
          <a:p>
            <a:r>
              <a:t>Texte :</a:t>
            </a:r>
          </a:p>
          <a:p>
            <a:r>
              <a:t>Expériences audacieuses</a:t>
            </a:r>
          </a:p>
        </p:txBody>
      </p:sp>
      <p:sp>
        <p:nvSpPr>
          <p:cNvPr id="4" name="!!box2">
            <a:extLst>
              <a:ext uri="{FF2B5EF4-FFF2-40B4-BE49-F238E27FC236}">
                <a16:creationId xmlns:a16="http://schemas.microsoft.com/office/drawing/2014/main" id="{6006B7C0-3044-68F4-9631-21CBEA556D31}"/>
              </a:ext>
            </a:extLst>
          </p:cNvPr>
          <p:cNvSpPr>
            <a:spLocks noGrp="1"/>
          </p:cNvSpPr>
          <p:nvPr>
            <p:ph type="body" sz="quarter" idx="14"/>
          </p:nvPr>
        </p:nvSpPr>
        <p:spPr>
          <a:xfrm>
            <a:off x="2562393" y="923131"/>
            <a:ext cx="1908000" cy="3297238"/>
          </a:xfrm>
          <a:solidFill>
            <a:schemeClr val="tx1"/>
          </a:solidFill>
        </p:spPr>
        <p:txBody>
          <a:bodyPr tIns="1494000"/>
          <a:lstStyle/>
          <a:p>
            <a:r>
              <a:t>Texte :</a:t>
            </a:r>
          </a:p>
          <a:p>
            <a:r>
              <a:t>Efficacité audacieuse</a:t>
            </a:r>
          </a:p>
        </p:txBody>
      </p:sp>
      <p:sp>
        <p:nvSpPr>
          <p:cNvPr id="5" name="!!box3">
            <a:extLst>
              <a:ext uri="{FF2B5EF4-FFF2-40B4-BE49-F238E27FC236}">
                <a16:creationId xmlns:a16="http://schemas.microsoft.com/office/drawing/2014/main" id="{E713361B-368A-2393-7FAE-B2FCAD458A5D}"/>
              </a:ext>
            </a:extLst>
          </p:cNvPr>
          <p:cNvSpPr>
            <a:spLocks noGrp="1"/>
          </p:cNvSpPr>
          <p:nvPr>
            <p:ph type="body" sz="quarter" idx="15"/>
          </p:nvPr>
        </p:nvSpPr>
        <p:spPr>
          <a:xfrm>
            <a:off x="4668423" y="923131"/>
            <a:ext cx="1908000" cy="3297238"/>
          </a:xfrm>
          <a:solidFill>
            <a:schemeClr val="tx1"/>
          </a:solidFill>
        </p:spPr>
        <p:txBody>
          <a:bodyPr tIns="1494000"/>
          <a:lstStyle/>
          <a:p>
            <a:r>
              <a:t>Texte :</a:t>
            </a:r>
          </a:p>
          <a:p>
            <a:r>
              <a:t>Audace et pérennité</a:t>
            </a:r>
          </a:p>
        </p:txBody>
      </p:sp>
      <p:sp>
        <p:nvSpPr>
          <p:cNvPr id="7" name="!!box5">
            <a:extLst>
              <a:ext uri="{FF2B5EF4-FFF2-40B4-BE49-F238E27FC236}">
                <a16:creationId xmlns:a16="http://schemas.microsoft.com/office/drawing/2014/main" id="{F2E3615B-6058-5057-B139-FA21D49E9F9B}"/>
              </a:ext>
            </a:extLst>
          </p:cNvPr>
          <p:cNvSpPr>
            <a:spLocks noGrp="1"/>
          </p:cNvSpPr>
          <p:nvPr>
            <p:ph type="body" sz="quarter" idx="17"/>
          </p:nvPr>
        </p:nvSpPr>
        <p:spPr>
          <a:xfrm>
            <a:off x="6772450" y="923131"/>
            <a:ext cx="1908000" cy="3297238"/>
          </a:xfrm>
          <a:solidFill>
            <a:schemeClr val="tx1"/>
          </a:solidFill>
        </p:spPr>
        <p:txBody>
          <a:bodyPr tIns="1494000"/>
          <a:lstStyle/>
          <a:p>
            <a:r>
              <a:t>Texte :</a:t>
            </a:r>
          </a:p>
          <a:p>
            <a:r>
              <a:t>Des gens **audacieux**</a:t>
            </a:r>
          </a:p>
        </p:txBody>
      </p:sp>
      <p:sp>
        <p:nvSpPr>
          <p:cNvPr id="46" name="!!OVAL_network">
            <a:extLst>
              <a:ext uri="{FF2B5EF4-FFF2-40B4-BE49-F238E27FC236}">
                <a16:creationId xmlns:a16="http://schemas.microsoft.com/office/drawing/2014/main" id="{41E285BD-4594-C19C-39AD-48B59C4DCD2A}"/>
              </a:ext>
            </a:extLst>
          </p:cNvPr>
          <p:cNvSpPr>
            <a:spLocks noChangeAspect="1"/>
          </p:cNvSpPr>
          <p:nvPr/>
        </p:nvSpPr>
        <p:spPr>
          <a:xfrm>
            <a:off x="7402449" y="1390436"/>
            <a:ext cx="648000" cy="648000"/>
          </a:xfrm>
          <a:prstGeom prst="ellipse">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2" name="Groep 1">
            <a:extLst>
              <a:ext uri="{FF2B5EF4-FFF2-40B4-BE49-F238E27FC236}">
                <a16:creationId xmlns:a16="http://schemas.microsoft.com/office/drawing/2014/main" id="{9F9DDA65-1CBB-6C1B-62CB-420A1AC7C027}"/>
              </a:ext>
            </a:extLst>
          </p:cNvPr>
          <p:cNvGrpSpPr/>
          <p:nvPr/>
        </p:nvGrpSpPr>
        <p:grpSpPr>
          <a:xfrm>
            <a:off x="1093551" y="1390436"/>
            <a:ext cx="648000" cy="648000"/>
            <a:chOff x="1093551" y="1390436"/>
            <a:chExt cx="648000" cy="648000"/>
          </a:xfrm>
        </p:grpSpPr>
        <p:sp>
          <p:nvSpPr>
            <p:cNvPr id="53" name="!!OVAL_technology">
              <a:extLst>
                <a:ext uri="{FF2B5EF4-FFF2-40B4-BE49-F238E27FC236}">
                  <a16:creationId xmlns:a16="http://schemas.microsoft.com/office/drawing/2014/main" id="{46B1A076-A6C1-55FD-234C-F5739F66A2EC}"/>
                </a:ext>
              </a:extLst>
            </p:cNvPr>
            <p:cNvSpPr>
              <a:spLocks noChangeAspect="1"/>
            </p:cNvSpPr>
            <p:nvPr/>
          </p:nvSpPr>
          <p:spPr>
            <a:xfrm>
              <a:off x="1093551" y="1390436"/>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75" name="medal">
              <a:extLst>
                <a:ext uri="{FF2B5EF4-FFF2-40B4-BE49-F238E27FC236}">
                  <a16:creationId xmlns:a16="http://schemas.microsoft.com/office/drawing/2014/main" id="{CB61A2A3-1C34-E8D5-5B46-081FBD1B1ADF}"/>
                </a:ext>
              </a:extLst>
            </p:cNvPr>
            <p:cNvGrpSpPr/>
            <p:nvPr/>
          </p:nvGrpSpPr>
          <p:grpSpPr>
            <a:xfrm>
              <a:off x="1234542" y="1557547"/>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0F2D8FF9-2034-1060-213A-3AF32AEB4903}"/>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4F06A45B-6A55-75AA-D907-303FC8AECE3F}"/>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AF870C89-2500-FDF2-BE8D-2018BA8B50F0}"/>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FCA1686B-42BE-20D1-335E-15EC6A47252C}"/>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5F005963-9A91-2C1C-0B3E-AD29D103B6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48259302-1ECB-45D6-7FCC-FFA836964C8E}"/>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5CAA07C8-EA73-1D08-29DD-46A786520EE7}"/>
              </a:ext>
            </a:extLst>
          </p:cNvPr>
          <p:cNvGrpSpPr/>
          <p:nvPr/>
        </p:nvGrpSpPr>
        <p:grpSpPr>
          <a:xfrm>
            <a:off x="7545465" y="1533461"/>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536983FE-40BD-86F3-8B75-924AE779576C}"/>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B446AC5D-0A32-8F7A-D3A5-C27E11797A1D}"/>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226ECF65-4E60-8732-160D-5068E0738A0B}"/>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sp>
        <p:nvSpPr>
          <p:cNvPr id="11" name="TextBox 10">
            <a:extLst>
              <a:ext uri="{FF2B5EF4-FFF2-40B4-BE49-F238E27FC236}">
                <a16:creationId xmlns:a16="http://schemas.microsoft.com/office/drawing/2014/main" id="{2EDE9565-FBED-D35B-4263-CBF7CC09CE36}"/>
              </a:ext>
            </a:extLst>
          </p:cNvPr>
          <p:cNvSpPr txBox="1"/>
          <p:nvPr/>
        </p:nvSpPr>
        <p:spPr>
          <a:xfrm>
            <a:off x="460374" y="-3936999"/>
            <a:ext cx="8220075" cy="4316412"/>
          </a:xfrm>
          <a:prstGeom prst="rect">
            <a:avLst/>
          </a:prstGeom>
        </p:spPr>
        <p:txBody>
          <a:bodyPr vert="horz" wrap="square" lIns="0" tIns="0" rIns="0" bIns="0" numCol="1" spcCol="0" rtlCol="0" anchor="ctr" anchorCtr="0">
            <a:noAutofit/>
          </a:bodyPr>
          <a:lstStyle/>
          <a:p>
            <a:r>
              <a:t>Texte :</a:t>
            </a:r>
          </a:p>
          <a:p>
            <a:r>
              <a:t>NBU 4.0</a:t>
            </a:r>
          </a:p>
        </p:txBody>
      </p:sp>
      <p:grpSp>
        <p:nvGrpSpPr>
          <p:cNvPr id="24" name="Group 23">
            <a:extLst>
              <a:ext uri="{FF2B5EF4-FFF2-40B4-BE49-F238E27FC236}">
                <a16:creationId xmlns:a16="http://schemas.microsoft.com/office/drawing/2014/main" id="{3C13397C-EA73-B5E1-B984-25CB9058379D}"/>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000EDE0C-08A7-898C-F842-06E3AAC0F4A7}"/>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76BD2092-F646-E834-05AF-F3E330118E7B}"/>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953224CD-AA2A-DA57-FC95-32F3868C6AEC}"/>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415DBC7F-241C-534A-0B40-9ED2C0B24E7A}"/>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3CB4BEC1-A88F-5CEB-FD04-B5247CF27224}"/>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3516865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1B41F838-732C-1F6E-2760-1F0D8FE32BC0}"/>
            </a:ext>
          </a:extLst>
        </p:cNvPr>
        <p:cNvGrpSpPr/>
        <p:nvPr/>
      </p:nvGrpSpPr>
      <p:grpSpPr>
        <a:xfrm>
          <a:off x="0" y="0"/>
          <a:ext cx="0" cy="0"/>
          <a:chOff x="0" y="0"/>
          <a:chExt cx="0" cy="0"/>
        </a:xfrm>
      </p:grpSpPr>
      <p:sp>
        <p:nvSpPr>
          <p:cNvPr id="7" name="!!box5">
            <a:extLst>
              <a:ext uri="{FF2B5EF4-FFF2-40B4-BE49-F238E27FC236}">
                <a16:creationId xmlns:a16="http://schemas.microsoft.com/office/drawing/2014/main" id="{4E7BF5D8-0C5C-B3E0-4392-3C54A047498F}"/>
              </a:ext>
            </a:extLst>
          </p:cNvPr>
          <p:cNvSpPr>
            <a:spLocks noGrp="1"/>
          </p:cNvSpPr>
          <p:nvPr>
            <p:ph type="body" sz="quarter" idx="17"/>
          </p:nvPr>
        </p:nvSpPr>
        <p:spPr>
          <a:xfrm>
            <a:off x="6772450" y="923131"/>
            <a:ext cx="1908000" cy="3297238"/>
          </a:xfrm>
          <a:solidFill>
            <a:schemeClr val="tx1"/>
          </a:solidFill>
        </p:spPr>
        <p:txBody>
          <a:bodyPr tIns="1494000"/>
          <a:lstStyle/>
          <a:p>
            <a:r>
              <a:t>Texte :</a:t>
            </a:r>
          </a:p>
          <a:p>
            <a:r>
              <a:t>Des gens **audacieux**</a:t>
            </a:r>
          </a:p>
        </p:txBody>
      </p:sp>
      <p:sp>
        <p:nvSpPr>
          <p:cNvPr id="6" name="!!OVAL_network">
            <a:extLst>
              <a:ext uri="{FF2B5EF4-FFF2-40B4-BE49-F238E27FC236}">
                <a16:creationId xmlns:a16="http://schemas.microsoft.com/office/drawing/2014/main" id="{67383B5B-500B-C1EF-61B9-604A5285AB9D}"/>
              </a:ext>
            </a:extLst>
          </p:cNvPr>
          <p:cNvSpPr>
            <a:spLocks noChangeAspect="1"/>
          </p:cNvSpPr>
          <p:nvPr/>
        </p:nvSpPr>
        <p:spPr>
          <a:xfrm>
            <a:off x="7405631" y="1390436"/>
            <a:ext cx="648000" cy="648000"/>
          </a:xfrm>
          <a:prstGeom prst="ellipse">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3" name="!!box1">
            <a:extLst>
              <a:ext uri="{FF2B5EF4-FFF2-40B4-BE49-F238E27FC236}">
                <a16:creationId xmlns:a16="http://schemas.microsoft.com/office/drawing/2014/main" id="{747E0625-3C4B-B2DC-4BC4-245B30ECC11F}"/>
              </a:ext>
            </a:extLst>
          </p:cNvPr>
          <p:cNvSpPr>
            <a:spLocks noGrp="1"/>
          </p:cNvSpPr>
          <p:nvPr>
            <p:ph type="body" sz="quarter" idx="13"/>
          </p:nvPr>
        </p:nvSpPr>
        <p:spPr>
          <a:xfrm>
            <a:off x="460369" y="923131"/>
            <a:ext cx="1908000" cy="3297238"/>
          </a:xfrm>
          <a:gradFill>
            <a:gsLst>
              <a:gs pos="0">
                <a:schemeClr val="bg1"/>
              </a:gs>
              <a:gs pos="99000">
                <a:srgbClr val="41C3FF"/>
              </a:gs>
            </a:gsLst>
            <a:lin ang="2700000" scaled="1"/>
          </a:gradFill>
        </p:spPr>
        <p:txBody>
          <a:bodyPr tIns="1494000"/>
          <a:lstStyle/>
          <a:p>
            <a:r>
              <a:t>Texte :</a:t>
            </a:r>
          </a:p>
          <a:p>
            <a:r>
              <a:t>Expériences audacieuses</a:t>
            </a:r>
          </a:p>
        </p:txBody>
      </p:sp>
      <p:sp>
        <p:nvSpPr>
          <p:cNvPr id="4" name="!!box2">
            <a:extLst>
              <a:ext uri="{FF2B5EF4-FFF2-40B4-BE49-F238E27FC236}">
                <a16:creationId xmlns:a16="http://schemas.microsoft.com/office/drawing/2014/main" id="{D3D9CD61-1043-5AC0-3921-0D0D6E7CD5C6}"/>
              </a:ext>
            </a:extLst>
          </p:cNvPr>
          <p:cNvSpPr>
            <a:spLocks noGrp="1"/>
          </p:cNvSpPr>
          <p:nvPr>
            <p:ph type="body" sz="quarter" idx="14"/>
          </p:nvPr>
        </p:nvSpPr>
        <p:spPr>
          <a:xfrm>
            <a:off x="2562393" y="923131"/>
            <a:ext cx="1908000" cy="3297238"/>
          </a:xfrm>
          <a:solidFill>
            <a:schemeClr val="tx1"/>
          </a:solidFill>
        </p:spPr>
        <p:txBody>
          <a:bodyPr tIns="1494000"/>
          <a:lstStyle/>
          <a:p>
            <a:r>
              <a:t>Texte :</a:t>
            </a:r>
          </a:p>
          <a:p>
            <a:r>
              <a:t>Audace et efficacité</a:t>
            </a:r>
          </a:p>
        </p:txBody>
      </p:sp>
      <p:sp>
        <p:nvSpPr>
          <p:cNvPr id="5" name="!!box3">
            <a:extLst>
              <a:ext uri="{FF2B5EF4-FFF2-40B4-BE49-F238E27FC236}">
                <a16:creationId xmlns:a16="http://schemas.microsoft.com/office/drawing/2014/main" id="{3A0CAE3A-A2A0-46BC-3206-D7824C092B74}"/>
              </a:ext>
            </a:extLst>
          </p:cNvPr>
          <p:cNvSpPr>
            <a:spLocks noGrp="1"/>
          </p:cNvSpPr>
          <p:nvPr>
            <p:ph type="body" sz="quarter" idx="15"/>
          </p:nvPr>
        </p:nvSpPr>
        <p:spPr>
          <a:xfrm>
            <a:off x="4668423" y="923131"/>
            <a:ext cx="1908000" cy="3297238"/>
          </a:xfrm>
          <a:solidFill>
            <a:schemeClr val="tx1"/>
          </a:solidFill>
        </p:spPr>
        <p:txBody>
          <a:bodyPr tIns="1494000"/>
          <a:lstStyle/>
          <a:p>
            <a:r>
              <a:t>Texte :</a:t>
            </a:r>
          </a:p>
          <a:p>
            <a:r>
              <a:t>Audace et pérennité</a:t>
            </a:r>
          </a:p>
        </p:txBody>
      </p:sp>
      <p:grpSp>
        <p:nvGrpSpPr>
          <p:cNvPr id="63" name="Group 62">
            <a:extLst>
              <a:ext uri="{FF2B5EF4-FFF2-40B4-BE49-F238E27FC236}">
                <a16:creationId xmlns:a16="http://schemas.microsoft.com/office/drawing/2014/main" id="{BEE5B64C-80FA-7D91-BA97-4908B3C1AB56}"/>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01D9E804-ABE4-8668-EB9F-1F31C29CC118}"/>
                </a:ext>
              </a:extLst>
            </p:cNvPr>
            <p:cNvSpPr>
              <a:spLocks noChangeAspect="1"/>
            </p:cNvSpPr>
            <p:nvPr/>
          </p:nvSpPr>
          <p:spPr>
            <a:xfrm>
              <a:off x="869838" y="1363153"/>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82B5F224-7A84-062F-6D3C-EC714A2E6E0C}"/>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0BCD1151-5AD6-DF4C-F563-0096CF223E5D}"/>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E2E70125-3834-F55F-4F98-0F8798471CD2}"/>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478610A0-3EAE-A3ED-0EF9-5879699453C0}"/>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042D319E-EF28-959C-A4B9-235305CDE536}"/>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80D4CFBC-BDF1-1ED0-D5DE-7734ACE96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FB9016D0-4286-3787-9221-60235847FC49}"/>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61694768-92F1-D4DA-48FB-CC200DC4C6DF}"/>
              </a:ext>
            </a:extLst>
          </p:cNvPr>
          <p:cNvGrpSpPr/>
          <p:nvPr/>
        </p:nvGrpSpPr>
        <p:grpSpPr>
          <a:xfrm>
            <a:off x="7545465" y="1533461"/>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D6CB88CC-FF80-B697-166C-9B9E5A8EFA6B}"/>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E050B9D7-6D10-D967-76AF-F74C258393C8}"/>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F016B355-09A3-73C2-82FC-D7F7E171EC22}"/>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nvGrpSpPr>
          <p:cNvPr id="24" name="Group 23">
            <a:extLst>
              <a:ext uri="{FF2B5EF4-FFF2-40B4-BE49-F238E27FC236}">
                <a16:creationId xmlns:a16="http://schemas.microsoft.com/office/drawing/2014/main" id="{08F4A959-2830-9858-6B27-5A810DA08C4B}"/>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44BCCE8A-E5A0-2011-2EB3-F05D0FBBBD70}"/>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F6D85DA1-3BC6-FCB6-6D04-FBC53F6305FA}"/>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5731CEC6-A043-B72D-4AC8-422E5C3A5896}"/>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D1DD68C6-94BE-5D49-B12F-6437BD41A6AE}"/>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D7ADCB34-B47A-A5B3-3589-667709B37BF6}"/>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2946514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DE67B44-9339-8CC7-5361-B21DFDA8F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04A1B0-3011-7304-02A5-C983BD055E54}"/>
              </a:ext>
            </a:extLst>
          </p:cNvPr>
          <p:cNvSpPr>
            <a:spLocks noGrp="1"/>
          </p:cNvSpPr>
          <p:nvPr>
            <p:ph type="title"/>
          </p:nvPr>
        </p:nvSpPr>
        <p:spPr>
          <a:xfrm>
            <a:off x="1252548" y="377826"/>
            <a:ext cx="7429492" cy="660092"/>
          </a:xfrm>
        </p:spPr>
        <p:txBody>
          <a:bodyPr anchor="ctr"/>
          <a:lstStyle/>
          <a:p>
            <a:r>
              <a:t>Texte :</a:t>
            </a:r>
          </a:p>
          <a:p>
            <a:r>
              <a:t>Expériences audacieuses</a:t>
            </a:r>
          </a:p>
        </p:txBody>
      </p:sp>
      <p:sp>
        <p:nvSpPr>
          <p:cNvPr id="3" name="Text Placeholder 2">
            <a:extLst>
              <a:ext uri="{FF2B5EF4-FFF2-40B4-BE49-F238E27FC236}">
                <a16:creationId xmlns:a16="http://schemas.microsoft.com/office/drawing/2014/main" id="{7246D3C2-A13A-612F-BE77-4D38BBFD5DEE}"/>
              </a:ext>
            </a:extLst>
          </p:cNvPr>
          <p:cNvSpPr>
            <a:spLocks noGrp="1"/>
          </p:cNvSpPr>
          <p:nvPr>
            <p:ph type="body" sz="quarter" idx="4294967295"/>
          </p:nvPr>
        </p:nvSpPr>
        <p:spPr>
          <a:xfrm>
            <a:off x="460375" y="1408113"/>
            <a:ext cx="2592388" cy="2774950"/>
          </a:xfrm>
          <a:prstGeom prst="roundRect">
            <a:avLst>
              <a:gd name="adj" fmla="val 7348"/>
            </a:avLst>
          </a:prstGeom>
          <a:gradFill flip="none" rotWithShape="1">
            <a:gsLst>
              <a:gs pos="0">
                <a:schemeClr val="bg1"/>
              </a:gs>
              <a:gs pos="99000">
                <a:srgbClr val="41C3FF"/>
              </a:gs>
            </a:gsLst>
            <a:lin ang="10800000" scaled="1"/>
            <a:tileRect/>
          </a:gradFill>
        </p:spPr>
        <p:txBody>
          <a:bodyPr tIns="576000" anchor="ctr"/>
          <a:lstStyle/>
          <a:p>
            <a:r>
              <a:t>Texte :</a:t>
            </a:r>
          </a:p>
          <a:p>
            <a:r>
              <a:t>Gigabit pour tous</a:t>
            </a:r>
          </a:p>
        </p:txBody>
      </p:sp>
      <p:sp>
        <p:nvSpPr>
          <p:cNvPr id="4" name="Text Placeholder 3">
            <a:extLst>
              <a:ext uri="{FF2B5EF4-FFF2-40B4-BE49-F238E27FC236}">
                <a16:creationId xmlns:a16="http://schemas.microsoft.com/office/drawing/2014/main" id="{40F16F2E-8094-5490-DF27-DA539DF3D67C}"/>
              </a:ext>
            </a:extLst>
          </p:cNvPr>
          <p:cNvSpPr>
            <a:spLocks noGrp="1"/>
          </p:cNvSpPr>
          <p:nvPr>
            <p:ph type="body" sz="quarter" idx="4294967295"/>
          </p:nvPr>
        </p:nvSpPr>
        <p:spPr>
          <a:xfrm>
            <a:off x="6086897" y="1408113"/>
            <a:ext cx="2592387" cy="2774950"/>
          </a:xfrm>
          <a:prstGeom prst="roundRect">
            <a:avLst>
              <a:gd name="adj" fmla="val 7348"/>
            </a:avLst>
          </a:prstGeom>
          <a:gradFill flip="none" rotWithShape="1">
            <a:gsLst>
              <a:gs pos="0">
                <a:schemeClr val="bg1"/>
              </a:gs>
              <a:gs pos="99000">
                <a:srgbClr val="41C3FF"/>
              </a:gs>
            </a:gsLst>
            <a:lin ang="0" scaled="1"/>
            <a:tileRect/>
          </a:gradFill>
        </p:spPr>
        <p:txBody>
          <a:bodyPr tIns="576000" anchor="ctr"/>
          <a:lstStyle/>
          <a:p>
            <a:r>
              <a:t>Texte :</a:t>
            </a:r>
          </a:p>
          <a:p>
            <a:r>
              <a:t>Expérience multi-accès</a:t>
            </a:r>
          </a:p>
        </p:txBody>
      </p:sp>
      <p:sp>
        <p:nvSpPr>
          <p:cNvPr id="8" name="Text Placeholder 7">
            <a:extLst>
              <a:ext uri="{FF2B5EF4-FFF2-40B4-BE49-F238E27FC236}">
                <a16:creationId xmlns:a16="http://schemas.microsoft.com/office/drawing/2014/main" id="{53EAFBDB-8BEC-C505-DAD9-7E30A84A4ABB}"/>
              </a:ext>
            </a:extLst>
          </p:cNvPr>
          <p:cNvSpPr>
            <a:spLocks noGrp="1"/>
          </p:cNvSpPr>
          <p:nvPr>
            <p:ph type="body" sz="quarter" idx="4294967295"/>
          </p:nvPr>
        </p:nvSpPr>
        <p:spPr>
          <a:xfrm>
            <a:off x="3273636" y="1408113"/>
            <a:ext cx="2592388" cy="2774950"/>
          </a:xfrm>
          <a:prstGeom prst="roundRect">
            <a:avLst>
              <a:gd name="adj" fmla="val 7348"/>
            </a:avLst>
          </a:prstGeom>
          <a:solidFill>
            <a:schemeClr val="bg1"/>
          </a:solidFill>
        </p:spPr>
        <p:txBody>
          <a:bodyPr tIns="576000" anchor="ctr"/>
          <a:lstStyle/>
          <a:p>
            <a:r>
              <a:t>Texte :</a:t>
            </a:r>
          </a:p>
          <a:p>
            <a:r>
              <a:t>Leadership mobile</a:t>
            </a:r>
          </a:p>
        </p:txBody>
      </p:sp>
      <p:pic>
        <p:nvPicPr>
          <p:cNvPr id="25" name="Graphic 24">
            <a:extLst>
              <a:ext uri="{FF2B5EF4-FFF2-40B4-BE49-F238E27FC236}">
                <a16:creationId xmlns:a16="http://schemas.microsoft.com/office/drawing/2014/main" id="{A82C1C2C-3370-9958-FC06-1AC03CF819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93677" y="1965864"/>
            <a:ext cx="285017" cy="386809"/>
          </a:xfrm>
          <a:prstGeom prst="rect">
            <a:avLst/>
          </a:prstGeom>
        </p:spPr>
      </p:pic>
      <p:pic>
        <p:nvPicPr>
          <p:cNvPr id="15" name="Graphic 14">
            <a:extLst>
              <a:ext uri="{FF2B5EF4-FFF2-40B4-BE49-F238E27FC236}">
                <a16:creationId xmlns:a16="http://schemas.microsoft.com/office/drawing/2014/main" id="{3F996C09-7277-0647-28CC-8FB973AF5F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50988" y="1953882"/>
            <a:ext cx="410773" cy="410773"/>
          </a:xfrm>
          <a:prstGeom prst="rect">
            <a:avLst/>
          </a:prstGeom>
        </p:spPr>
      </p:pic>
      <p:pic>
        <p:nvPicPr>
          <p:cNvPr id="43" name="Graphic 42">
            <a:extLst>
              <a:ext uri="{FF2B5EF4-FFF2-40B4-BE49-F238E27FC236}">
                <a16:creationId xmlns:a16="http://schemas.microsoft.com/office/drawing/2014/main" id="{99F7667A-7E2F-A6D7-1AB9-F13BD0395B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3950" y="1968768"/>
            <a:ext cx="381000" cy="381000"/>
          </a:xfrm>
          <a:prstGeom prst="rect">
            <a:avLst/>
          </a:prstGeom>
        </p:spPr>
      </p:pic>
      <p:grpSp>
        <p:nvGrpSpPr>
          <p:cNvPr id="6" name="Groep 5">
            <a:extLst>
              <a:ext uri="{FF2B5EF4-FFF2-40B4-BE49-F238E27FC236}">
                <a16:creationId xmlns:a16="http://schemas.microsoft.com/office/drawing/2014/main" id="{3F39F435-70E2-EEF9-AA3B-7B9C8486F67C}"/>
              </a:ext>
            </a:extLst>
          </p:cNvPr>
          <p:cNvGrpSpPr/>
          <p:nvPr/>
        </p:nvGrpSpPr>
        <p:grpSpPr>
          <a:xfrm>
            <a:off x="460375" y="377826"/>
            <a:ext cx="648000" cy="648000"/>
            <a:chOff x="1093551" y="1390436"/>
            <a:chExt cx="648000" cy="648000"/>
          </a:xfrm>
        </p:grpSpPr>
        <p:sp>
          <p:nvSpPr>
            <p:cNvPr id="7" name="!!OVAL_technology">
              <a:extLst>
                <a:ext uri="{FF2B5EF4-FFF2-40B4-BE49-F238E27FC236}">
                  <a16:creationId xmlns:a16="http://schemas.microsoft.com/office/drawing/2014/main" id="{94CA0B52-CFEE-82A6-9768-05F7158237A7}"/>
                </a:ext>
              </a:extLst>
            </p:cNvPr>
            <p:cNvSpPr>
              <a:spLocks noChangeAspect="1"/>
            </p:cNvSpPr>
            <p:nvPr/>
          </p:nvSpPr>
          <p:spPr>
            <a:xfrm>
              <a:off x="1093551" y="1390436"/>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9" name="medal">
              <a:extLst>
                <a:ext uri="{FF2B5EF4-FFF2-40B4-BE49-F238E27FC236}">
                  <a16:creationId xmlns:a16="http://schemas.microsoft.com/office/drawing/2014/main" id="{39C2316B-5D82-4429-2AB4-80D4E3B57690}"/>
                </a:ext>
              </a:extLst>
            </p:cNvPr>
            <p:cNvGrpSpPr/>
            <p:nvPr/>
          </p:nvGrpSpPr>
          <p:grpSpPr>
            <a:xfrm>
              <a:off x="1234542" y="1557547"/>
              <a:ext cx="359654" cy="360044"/>
              <a:chOff x="4715967" y="2129134"/>
              <a:chExt cx="359654" cy="360044"/>
            </a:xfrm>
            <a:solidFill>
              <a:schemeClr val="tx1"/>
            </a:solidFill>
          </p:grpSpPr>
          <p:sp>
            <p:nvSpPr>
              <p:cNvPr id="10" name="Freeform: Shape 101">
                <a:extLst>
                  <a:ext uri="{FF2B5EF4-FFF2-40B4-BE49-F238E27FC236}">
                    <a16:creationId xmlns:a16="http://schemas.microsoft.com/office/drawing/2014/main" id="{830FC639-8A22-9673-AB55-AC6008A8CD88}"/>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11" name="Freeform: Shape 102">
                <a:extLst>
                  <a:ext uri="{FF2B5EF4-FFF2-40B4-BE49-F238E27FC236}">
                    <a16:creationId xmlns:a16="http://schemas.microsoft.com/office/drawing/2014/main" id="{C9D3D67C-6D2C-3632-B7B6-9BB77E1B49EA}"/>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6663099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DF451157-4431-63E9-7A5F-625CBE1C85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D0198A-0211-95FD-E76D-EF2C87DD958F}"/>
              </a:ext>
            </a:extLst>
          </p:cNvPr>
          <p:cNvSpPr>
            <a:spLocks noGrp="1"/>
          </p:cNvSpPr>
          <p:nvPr>
            <p:ph type="title"/>
          </p:nvPr>
        </p:nvSpPr>
        <p:spPr>
          <a:xfrm>
            <a:off x="1226989" y="377826"/>
            <a:ext cx="7455051" cy="660092"/>
          </a:xfrm>
        </p:spPr>
        <p:txBody>
          <a:bodyPr anchor="ctr"/>
          <a:lstStyle/>
          <a:p>
            <a:r>
              <a:t>Texte :</a:t>
            </a:r>
          </a:p>
          <a:p>
            <a:r>
              <a:t>Gigabit pour tous</a:t>
            </a:r>
          </a:p>
        </p:txBody>
      </p:sp>
      <p:sp>
        <p:nvSpPr>
          <p:cNvPr id="39" name="!!OVAL_network">
            <a:extLst>
              <a:ext uri="{FF2B5EF4-FFF2-40B4-BE49-F238E27FC236}">
                <a16:creationId xmlns:a16="http://schemas.microsoft.com/office/drawing/2014/main" id="{5D225961-3FF1-E623-4F00-3C767178D1B2}"/>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3F4D4F6E-E75A-DB14-54AE-A60A1C5AB8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14" name="TextBox 13">
            <a:extLst>
              <a:ext uri="{FF2B5EF4-FFF2-40B4-BE49-F238E27FC236}">
                <a16:creationId xmlns:a16="http://schemas.microsoft.com/office/drawing/2014/main" id="{652B234D-9410-3379-B7C2-8D1FE1709DA2}"/>
              </a:ext>
            </a:extLst>
          </p:cNvPr>
          <p:cNvSpPr txBox="1"/>
          <p:nvPr/>
        </p:nvSpPr>
        <p:spPr>
          <a:xfrm>
            <a:off x="460375" y="1038225"/>
            <a:ext cx="4111626" cy="3657600"/>
          </a:xfrm>
          <a:prstGeom prst="rect">
            <a:avLst/>
          </a:prstGeom>
        </p:spPr>
        <p:txBody>
          <a:bodyPr vert="horz" wrap="square" lIns="0" tIns="0" rIns="0" bIns="0" numCol="1" spcCol="0" rtlCol="0" anchor="ctr" anchorCtr="0">
            <a:noAutofit/>
          </a:bodyPr>
          <a:lstStyle/>
          <a:p>
            <a:r>
              <a:t>Texte :</a:t>
            </a:r>
          </a:p>
          <a:p>
            <a:r>
              <a:t>Effort collectif pour construire un réseau rapide, ouvert et accessible</a:t>
            </a:r>
          </a:p>
        </p:txBody>
      </p:sp>
      <p:pic>
        <p:nvPicPr>
          <p:cNvPr id="17" name="Picture 16" descr="A person in a yellow jacket next to a truck&#10;&#10;Description automatically generated">
            <a:extLst>
              <a:ext uri="{FF2B5EF4-FFF2-40B4-BE49-F238E27FC236}">
                <a16:creationId xmlns:a16="http://schemas.microsoft.com/office/drawing/2014/main" id="{BC8B36C0-91E7-7B34-D492-D1F7ED8359C8}"/>
              </a:ext>
            </a:extLst>
          </p:cNvPr>
          <p:cNvPicPr>
            <a:picLocks noChangeAspect="1"/>
          </p:cNvPicPr>
          <p:nvPr/>
        </p:nvPicPr>
        <p:blipFill rotWithShape="1">
          <a:blip r:embed="rId5"/>
          <a:srcRect l="613" r="25377"/>
          <a:stretch/>
        </p:blipFill>
        <p:spPr>
          <a:xfrm>
            <a:off x="3889170" y="377826"/>
            <a:ext cx="4791280" cy="4317999"/>
          </a:xfrm>
          <a:prstGeom prst="roundRect">
            <a:avLst>
              <a:gd name="adj" fmla="val 3976"/>
            </a:avLst>
          </a:prstGeom>
        </p:spPr>
      </p:pic>
    </p:spTree>
    <p:extLst>
      <p:ext uri="{BB962C8B-B14F-4D97-AF65-F5344CB8AC3E}">
        <p14:creationId xmlns:p14="http://schemas.microsoft.com/office/powerpoint/2010/main" val="2207042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C4055F4-919A-DB59-145B-3D8F43BCC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541F41-9DAD-A9EE-6A73-CDC13D9E73A8}"/>
              </a:ext>
            </a:extLst>
          </p:cNvPr>
          <p:cNvSpPr>
            <a:spLocks noGrp="1"/>
          </p:cNvSpPr>
          <p:nvPr>
            <p:ph type="title"/>
          </p:nvPr>
        </p:nvSpPr>
        <p:spPr>
          <a:xfrm>
            <a:off x="1226989" y="377826"/>
            <a:ext cx="7455051" cy="660092"/>
          </a:xfrm>
        </p:spPr>
        <p:txBody>
          <a:bodyPr anchor="ctr"/>
          <a:lstStyle/>
          <a:p>
            <a:r>
              <a:t>Texte :</a:t>
            </a:r>
          </a:p>
          <a:p>
            <a:r>
              <a:t>Gigabit pour tous</a:t>
            </a:r>
          </a:p>
        </p:txBody>
      </p:sp>
      <p:sp>
        <p:nvSpPr>
          <p:cNvPr id="39" name="!!OVAL_network">
            <a:extLst>
              <a:ext uri="{FF2B5EF4-FFF2-40B4-BE49-F238E27FC236}">
                <a16:creationId xmlns:a16="http://schemas.microsoft.com/office/drawing/2014/main" id="{25ACBA6F-A7DE-5726-3F86-0239A459E57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F64FECE4-DA36-A511-9D05-33284B13B2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14" name="Rounded Rectangle 13">
            <a:extLst>
              <a:ext uri="{FF2B5EF4-FFF2-40B4-BE49-F238E27FC236}">
                <a16:creationId xmlns:a16="http://schemas.microsoft.com/office/drawing/2014/main" id="{5C77B9CD-DF05-6A33-0B0E-9E1D1B20A648}"/>
              </a:ext>
            </a:extLst>
          </p:cNvPr>
          <p:cNvSpPr/>
          <p:nvPr/>
        </p:nvSpPr>
        <p:spPr>
          <a:xfrm>
            <a:off x="3337224" y="1277600"/>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rgbClr val="2A2234"/>
              </a:solidFill>
              <a:latin typeface="Proximus Bold" panose="00000500000000000000" pitchFamily="2" charset="0"/>
              <a:cs typeface="Proximus Bold"/>
            </a:endParaRPr>
          </a:p>
        </p:txBody>
      </p:sp>
      <p:sp>
        <p:nvSpPr>
          <p:cNvPr id="16" name="Rounded Rectangle 15">
            <a:extLst>
              <a:ext uri="{FF2B5EF4-FFF2-40B4-BE49-F238E27FC236}">
                <a16:creationId xmlns:a16="http://schemas.microsoft.com/office/drawing/2014/main" id="{32B3C2F4-1768-91D2-0B2E-831D615F9513}"/>
              </a:ext>
            </a:extLst>
          </p:cNvPr>
          <p:cNvSpPr/>
          <p:nvPr/>
        </p:nvSpPr>
        <p:spPr>
          <a:xfrm>
            <a:off x="6216380" y="1277599"/>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7" name="Rounded Rectangle 16">
            <a:extLst>
              <a:ext uri="{FF2B5EF4-FFF2-40B4-BE49-F238E27FC236}">
                <a16:creationId xmlns:a16="http://schemas.microsoft.com/office/drawing/2014/main" id="{158FA7F7-FB08-8B65-D079-74B29D27EA0D}"/>
              </a:ext>
            </a:extLst>
          </p:cNvPr>
          <p:cNvSpPr/>
          <p:nvPr/>
        </p:nvSpPr>
        <p:spPr>
          <a:xfrm>
            <a:off x="460374" y="1277600"/>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18" name="Picture 17">
            <a:extLst>
              <a:ext uri="{FF2B5EF4-FFF2-40B4-BE49-F238E27FC236}">
                <a16:creationId xmlns:a16="http://schemas.microsoft.com/office/drawing/2014/main" id="{F440D604-079A-CBDE-44FC-10F56CED5473}"/>
              </a:ext>
            </a:extLst>
          </p:cNvPr>
          <p:cNvPicPr>
            <a:picLocks/>
          </p:cNvPicPr>
          <p:nvPr/>
        </p:nvPicPr>
        <p:blipFill rotWithShape="1">
          <a:blip r:embed="rId5" cstate="screen">
            <a:extLst>
              <a:ext uri="{28A0092B-C50C-407E-A947-70E740481C1C}">
                <a14:useLocalDpi xmlns:a14="http://schemas.microsoft.com/office/drawing/2010/main"/>
              </a:ext>
            </a:extLst>
          </a:blip>
          <a:srcRect l="17406" r="17406"/>
          <a:stretch/>
        </p:blipFill>
        <p:spPr>
          <a:xfrm>
            <a:off x="462032" y="1277599"/>
            <a:ext cx="2464342" cy="2122825"/>
          </a:xfrm>
          <a:prstGeom prst="round2SameRect">
            <a:avLst>
              <a:gd name="adj1" fmla="val 4449"/>
              <a:gd name="adj2" fmla="val 0"/>
            </a:avLst>
          </a:prstGeom>
          <a:ln>
            <a:noFill/>
          </a:ln>
          <a:effectLst/>
        </p:spPr>
      </p:pic>
      <p:pic>
        <p:nvPicPr>
          <p:cNvPr id="19" name="Picture 18" descr="See the source image">
            <a:extLst>
              <a:ext uri="{FF2B5EF4-FFF2-40B4-BE49-F238E27FC236}">
                <a16:creationId xmlns:a16="http://schemas.microsoft.com/office/drawing/2014/main" id="{F28304B4-C530-61F8-09C9-E225AD46FC99}"/>
              </a:ext>
            </a:extLst>
          </p:cNvPr>
          <p:cNvPicPr>
            <a:picLocks noChangeArrowheads="1"/>
          </p:cNvPicPr>
          <p:nvPr/>
        </p:nvPicPr>
        <p:blipFill rotWithShape="1">
          <a:blip r:embed="rId6">
            <a:extLst>
              <a:ext uri="{28A0092B-C50C-407E-A947-70E740481C1C}">
                <a14:useLocalDpi xmlns:a14="http://schemas.microsoft.com/office/drawing/2010/main" val="0"/>
              </a:ext>
            </a:extLst>
          </a:blip>
          <a:srcRect l="11304" r="11304"/>
          <a:stretch/>
        </p:blipFill>
        <p:spPr bwMode="auto">
          <a:xfrm>
            <a:off x="3338053" y="1277599"/>
            <a:ext cx="2464342" cy="2122825"/>
          </a:xfrm>
          <a:prstGeom prst="round2SameRect">
            <a:avLst>
              <a:gd name="adj1" fmla="val 4223"/>
              <a:gd name="adj2" fmla="val 0"/>
            </a:avLst>
          </a:prstGeom>
          <a:noFill/>
          <a:ln>
            <a:noFill/>
          </a:ln>
          <a:effectLst/>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3E24C640-B910-B972-A2AD-2FEA502B6091}"/>
              </a:ext>
            </a:extLst>
          </p:cNvPr>
          <p:cNvPicPr>
            <a:picLocks noChangeArrowheads="1"/>
          </p:cNvPicPr>
          <p:nvPr/>
        </p:nvPicPr>
        <p:blipFill rotWithShape="1">
          <a:blip r:embed="rId7"/>
          <a:srcRect l="17341" r="17341"/>
          <a:stretch/>
        </p:blipFill>
        <p:spPr bwMode="auto">
          <a:xfrm>
            <a:off x="6218038" y="1277599"/>
            <a:ext cx="2464342" cy="2122825"/>
          </a:xfrm>
          <a:prstGeom prst="round2SameRect">
            <a:avLst>
              <a:gd name="adj1" fmla="val 4902"/>
              <a:gd name="adj2" fmla="val 0"/>
            </a:avLst>
          </a:prstGeom>
          <a:noFill/>
          <a:ln>
            <a:noFill/>
          </a:ln>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7A620DCF-7866-80D8-703D-16B601FF324E}"/>
              </a:ext>
            </a:extLst>
          </p:cNvPr>
          <p:cNvSpPr txBox="1"/>
          <p:nvPr/>
        </p:nvSpPr>
        <p:spPr>
          <a:xfrm>
            <a:off x="3338053" y="2968969"/>
            <a:ext cx="2464342" cy="431456"/>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defPPr>
              <a:defRPr lang="en-US"/>
            </a:defPPr>
            <a:lvl1pPr defTabSz="408094">
              <a:defRPr sz="1800" b="1">
                <a:solidFill>
                  <a:schemeClr val="bg1"/>
                </a:solidFill>
                <a:latin typeface="Proximus Bold"/>
              </a:defRPr>
            </a:lvl1pPr>
          </a:lstStyle>
          <a:p>
            <a:r>
              <a:t>Texte :</a:t>
            </a:r>
          </a:p>
          <a:p>
            <a:r>
              <a:t>Zones de densité moyenne</a:t>
            </a:r>
          </a:p>
        </p:txBody>
      </p:sp>
      <p:sp>
        <p:nvSpPr>
          <p:cNvPr id="23" name="TextBox 22">
            <a:extLst>
              <a:ext uri="{FF2B5EF4-FFF2-40B4-BE49-F238E27FC236}">
                <a16:creationId xmlns:a16="http://schemas.microsoft.com/office/drawing/2014/main" id="{EED0D369-E7A6-2968-C181-0D4C9BBF454B}"/>
              </a:ext>
            </a:extLst>
          </p:cNvPr>
          <p:cNvSpPr txBox="1"/>
          <p:nvPr/>
        </p:nvSpPr>
        <p:spPr>
          <a:xfrm>
            <a:off x="462032" y="2966224"/>
            <a:ext cx="2464342" cy="434201"/>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p>
            <a:r>
              <a:t>Texte :</a:t>
            </a:r>
          </a:p>
          <a:p>
            <a:r>
              <a:t>Zones denses</a:t>
            </a:r>
          </a:p>
        </p:txBody>
      </p:sp>
      <p:sp>
        <p:nvSpPr>
          <p:cNvPr id="24" name="TextBox 23">
            <a:extLst>
              <a:ext uri="{FF2B5EF4-FFF2-40B4-BE49-F238E27FC236}">
                <a16:creationId xmlns:a16="http://schemas.microsoft.com/office/drawing/2014/main" id="{014C0941-1134-C887-D138-2BE79DDDF834}"/>
              </a:ext>
            </a:extLst>
          </p:cNvPr>
          <p:cNvSpPr txBox="1"/>
          <p:nvPr/>
        </p:nvSpPr>
        <p:spPr>
          <a:xfrm>
            <a:off x="6218038" y="2966224"/>
            <a:ext cx="2464342" cy="434201"/>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defPPr>
              <a:defRPr lang="en-US"/>
            </a:defPPr>
            <a:lvl1pPr defTabSz="408094">
              <a:defRPr sz="1800" b="1">
                <a:solidFill>
                  <a:schemeClr val="bg1"/>
                </a:solidFill>
                <a:latin typeface="Proximus Bold"/>
              </a:defRPr>
            </a:lvl1pPr>
          </a:lstStyle>
          <a:p>
            <a:r>
              <a:t>Texte :</a:t>
            </a:r>
          </a:p>
          <a:p>
            <a:r>
              <a:t>Zones rurales</a:t>
            </a:r>
          </a:p>
        </p:txBody>
      </p:sp>
      <p:sp>
        <p:nvSpPr>
          <p:cNvPr id="26" name="TextBox 25">
            <a:extLst>
              <a:ext uri="{FF2B5EF4-FFF2-40B4-BE49-F238E27FC236}">
                <a16:creationId xmlns:a16="http://schemas.microsoft.com/office/drawing/2014/main" id="{E78346BC-57B1-9D90-9643-169F17966AEE}"/>
              </a:ext>
            </a:extLst>
          </p:cNvPr>
          <p:cNvSpPr txBox="1"/>
          <p:nvPr/>
        </p:nvSpPr>
        <p:spPr>
          <a:xfrm>
            <a:off x="6210612" y="3421279"/>
            <a:ext cx="2460231" cy="320430"/>
          </a:xfrm>
          <a:prstGeom prst="rect">
            <a:avLst/>
          </a:prstGeom>
        </p:spPr>
        <p:txBody>
          <a:bodyPr vert="horz" wrap="square" lIns="0" tIns="0" rIns="0" bIns="0" numCol="1" spcCol="0" rtlCol="0" anchor="ctr" anchorCtr="0">
            <a:noAutofit/>
          </a:bodyPr>
          <a:lstStyle/>
          <a:p>
            <a:r>
              <a:t>Texte :</a:t>
            </a:r>
          </a:p>
          <a:p>
            <a:r>
              <a:t>Fibre P2P + Coax</a:t>
            </a:r>
          </a:p>
        </p:txBody>
      </p:sp>
      <p:sp>
        <p:nvSpPr>
          <p:cNvPr id="27" name="TextBox 26">
            <a:extLst>
              <a:ext uri="{FF2B5EF4-FFF2-40B4-BE49-F238E27FC236}">
                <a16:creationId xmlns:a16="http://schemas.microsoft.com/office/drawing/2014/main" id="{923EB3AB-0C97-CC4E-5853-FD0C3E4A250B}"/>
              </a:ext>
            </a:extLst>
          </p:cNvPr>
          <p:cNvSpPr txBox="1"/>
          <p:nvPr/>
        </p:nvSpPr>
        <p:spPr>
          <a:xfrm>
            <a:off x="6210612" y="4340355"/>
            <a:ext cx="2467293" cy="320430"/>
          </a:xfrm>
          <a:prstGeom prst="rect">
            <a:avLst/>
          </a:prstGeom>
        </p:spPr>
        <p:txBody>
          <a:bodyPr vert="horz" wrap="square" lIns="0" tIns="0" rIns="0" bIns="0" numCol="1" spcCol="0" rtlCol="0" anchor="ctr" anchorCtr="0">
            <a:noAutofit/>
          </a:bodyPr>
          <a:lstStyle/>
          <a:p>
            <a:r>
              <a:t>Texte :</a:t>
            </a:r>
          </a:p>
          <a:p>
            <a:r>
              <a:t>Coax + Déploiement subventionné</a:t>
            </a:r>
          </a:p>
        </p:txBody>
      </p:sp>
      <p:sp>
        <p:nvSpPr>
          <p:cNvPr id="28" name="TextBox 27">
            <a:extLst>
              <a:ext uri="{FF2B5EF4-FFF2-40B4-BE49-F238E27FC236}">
                <a16:creationId xmlns:a16="http://schemas.microsoft.com/office/drawing/2014/main" id="{7B07A597-8F18-0375-681C-93C3D212DD4A}"/>
              </a:ext>
            </a:extLst>
          </p:cNvPr>
          <p:cNvSpPr txBox="1"/>
          <p:nvPr/>
        </p:nvSpPr>
        <p:spPr>
          <a:xfrm>
            <a:off x="460375" y="3425692"/>
            <a:ext cx="2460231" cy="320430"/>
          </a:xfrm>
          <a:prstGeom prst="rect">
            <a:avLst/>
          </a:prstGeom>
        </p:spPr>
        <p:txBody>
          <a:bodyPr vert="horz" wrap="square" lIns="0" tIns="0" rIns="0" bIns="0" numCol="1" spcCol="0" rtlCol="0" anchor="ctr" anchorCtr="0">
            <a:noAutofit/>
          </a:bodyPr>
          <a:lstStyle/>
          <a:p>
            <a:r>
              <a:t>Texte :</a:t>
            </a:r>
          </a:p>
          <a:p>
            <a:r>
              <a:t>Fibre P2MP</a:t>
            </a:r>
          </a:p>
        </p:txBody>
      </p:sp>
      <p:cxnSp>
        <p:nvCxnSpPr>
          <p:cNvPr id="29" name="Straight Connector 28">
            <a:extLst>
              <a:ext uri="{FF2B5EF4-FFF2-40B4-BE49-F238E27FC236}">
                <a16:creationId xmlns:a16="http://schemas.microsoft.com/office/drawing/2014/main" id="{13D99A1F-7EE4-0562-046B-4C31285CEAE8}"/>
              </a:ext>
            </a:extLst>
          </p:cNvPr>
          <p:cNvCxnSpPr>
            <a:cxnSpLocks/>
          </p:cNvCxnSpPr>
          <p:nvPr/>
        </p:nvCxnSpPr>
        <p:spPr>
          <a:xfrm>
            <a:off x="460374"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53E9D67-12F2-8A5F-E690-AAE92DAF4D90}"/>
              </a:ext>
            </a:extLst>
          </p:cNvPr>
          <p:cNvSpPr txBox="1"/>
          <p:nvPr/>
        </p:nvSpPr>
        <p:spPr>
          <a:xfrm>
            <a:off x="460373" y="4340355"/>
            <a:ext cx="2467293" cy="320430"/>
          </a:xfrm>
          <a:prstGeom prst="rect">
            <a:avLst/>
          </a:prstGeom>
        </p:spPr>
        <p:txBody>
          <a:bodyPr vert="horz" wrap="square" lIns="0" tIns="0" rIns="0" bIns="0" numCol="1" spcCol="0" rtlCol="0" anchor="ctr" anchorCtr="0">
            <a:noAutofit/>
          </a:bodyPr>
          <a:lstStyle/>
          <a:p>
            <a:r>
              <a:t>Texte :</a:t>
            </a:r>
          </a:p>
          <a:p>
            <a:r>
              <a:t>Version autonome</a:t>
            </a:r>
          </a:p>
        </p:txBody>
      </p:sp>
      <p:sp>
        <p:nvSpPr>
          <p:cNvPr id="31" name="TextBox 30">
            <a:extLst>
              <a:ext uri="{FF2B5EF4-FFF2-40B4-BE49-F238E27FC236}">
                <a16:creationId xmlns:a16="http://schemas.microsoft.com/office/drawing/2014/main" id="{BB4CAC45-BFCA-82B6-8E1C-AE99ED96E31E}"/>
              </a:ext>
            </a:extLst>
          </p:cNvPr>
          <p:cNvSpPr txBox="1"/>
          <p:nvPr/>
        </p:nvSpPr>
        <p:spPr>
          <a:xfrm>
            <a:off x="3341884" y="3425692"/>
            <a:ext cx="2460231" cy="320430"/>
          </a:xfrm>
          <a:prstGeom prst="rect">
            <a:avLst/>
          </a:prstGeom>
        </p:spPr>
        <p:txBody>
          <a:bodyPr vert="horz" wrap="square" lIns="0" tIns="0" rIns="0" bIns="0" numCol="1" spcCol="0" rtlCol="0" anchor="ctr" anchorCtr="0">
            <a:noAutofit/>
          </a:bodyPr>
          <a:lstStyle/>
          <a:p>
            <a:r>
              <a:t>Texte :</a:t>
            </a:r>
          </a:p>
          <a:p>
            <a:r>
              <a:t>Fibre P2P</a:t>
            </a:r>
          </a:p>
        </p:txBody>
      </p:sp>
      <p:sp>
        <p:nvSpPr>
          <p:cNvPr id="32" name="TextBox 31">
            <a:extLst>
              <a:ext uri="{FF2B5EF4-FFF2-40B4-BE49-F238E27FC236}">
                <a16:creationId xmlns:a16="http://schemas.microsoft.com/office/drawing/2014/main" id="{AA01315C-5849-7018-BDBA-3EB11ECCBF05}"/>
              </a:ext>
            </a:extLst>
          </p:cNvPr>
          <p:cNvSpPr txBox="1"/>
          <p:nvPr/>
        </p:nvSpPr>
        <p:spPr>
          <a:xfrm>
            <a:off x="3371600" y="4340355"/>
            <a:ext cx="2467293" cy="320430"/>
          </a:xfrm>
          <a:prstGeom prst="rect">
            <a:avLst/>
          </a:prstGeom>
        </p:spPr>
        <p:txBody>
          <a:bodyPr vert="horz" wrap="square" lIns="0" tIns="0" rIns="0" bIns="0" numCol="1" spcCol="0" rtlCol="0" anchor="ctr" anchorCtr="0">
            <a:noAutofit/>
          </a:bodyPr>
          <a:lstStyle/>
          <a:p>
            <a:r>
              <a:t>Texte:</a:t>
            </a:r>
          </a:p>
          <a:p>
            <a:r>
              <a:t>Collaboration</a:t>
            </a:r>
          </a:p>
        </p:txBody>
      </p:sp>
      <p:pic>
        <p:nvPicPr>
          <p:cNvPr id="33" name="Picture 5" descr="Wij maken Vlaanderen klaar voor internet via fiber">
            <a:extLst>
              <a:ext uri="{FF2B5EF4-FFF2-40B4-BE49-F238E27FC236}">
                <a16:creationId xmlns:a16="http://schemas.microsoft.com/office/drawing/2014/main" id="{C77523B2-7940-A180-E3BB-E97F6F032ED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81629" y="3876050"/>
            <a:ext cx="789233" cy="22098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38998214-00EE-60FD-D54F-1E63B292CA7A}"/>
              </a:ext>
            </a:extLst>
          </p:cNvPr>
          <p:cNvPicPr>
            <a:picLocks noChangeAspect="1"/>
          </p:cNvPicPr>
          <p:nvPr/>
        </p:nvPicPr>
        <p:blipFill rotWithShape="1">
          <a:blip r:embed="rId9">
            <a:clrChange>
              <a:clrFrom>
                <a:srgbClr val="FFFFFF"/>
              </a:clrFrom>
              <a:clrTo>
                <a:srgbClr val="FFFFFF">
                  <a:alpha val="0"/>
                </a:srgbClr>
              </a:clrTo>
            </a:clrChange>
          </a:blip>
          <a:srcRect t="24343" b="26293"/>
          <a:stretch/>
        </p:blipFill>
        <p:spPr>
          <a:xfrm>
            <a:off x="4784247" y="3774324"/>
            <a:ext cx="739626" cy="365106"/>
          </a:xfrm>
          <a:prstGeom prst="rect">
            <a:avLst/>
          </a:prstGeom>
        </p:spPr>
      </p:pic>
      <p:grpSp>
        <p:nvGrpSpPr>
          <p:cNvPr id="35" name="Group 34">
            <a:extLst>
              <a:ext uri="{FF2B5EF4-FFF2-40B4-BE49-F238E27FC236}">
                <a16:creationId xmlns:a16="http://schemas.microsoft.com/office/drawing/2014/main" id="{F92E4F67-6356-794D-DD75-8F0D9C442064}"/>
              </a:ext>
            </a:extLst>
          </p:cNvPr>
          <p:cNvGrpSpPr/>
          <p:nvPr/>
        </p:nvGrpSpPr>
        <p:grpSpPr>
          <a:xfrm>
            <a:off x="3867052" y="4186913"/>
            <a:ext cx="361618" cy="103338"/>
            <a:chOff x="6399138" y="1794304"/>
            <a:chExt cx="1373876" cy="530467"/>
          </a:xfrm>
        </p:grpSpPr>
        <p:sp>
          <p:nvSpPr>
            <p:cNvPr id="36" name="Freeform: Shape 40">
              <a:extLst>
                <a:ext uri="{FF2B5EF4-FFF2-40B4-BE49-F238E27FC236}">
                  <a16:creationId xmlns:a16="http://schemas.microsoft.com/office/drawing/2014/main" id="{E16552C1-1472-FCFD-3849-CDAFBF35067B}"/>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endParaRPr lang="en-GB" sz="1800"/>
            </a:p>
          </p:txBody>
        </p:sp>
        <p:sp>
          <p:nvSpPr>
            <p:cNvPr id="37" name="Freeform: Shape 41">
              <a:extLst>
                <a:ext uri="{FF2B5EF4-FFF2-40B4-BE49-F238E27FC236}">
                  <a16:creationId xmlns:a16="http://schemas.microsoft.com/office/drawing/2014/main" id="{21479A33-CAB1-763A-4793-E9C2AE38D0FE}"/>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endParaRPr lang="en-GB" sz="1800"/>
            </a:p>
          </p:txBody>
        </p:sp>
        <p:sp>
          <p:nvSpPr>
            <p:cNvPr id="44" name="Freeform: Shape 42">
              <a:extLst>
                <a:ext uri="{FF2B5EF4-FFF2-40B4-BE49-F238E27FC236}">
                  <a16:creationId xmlns:a16="http://schemas.microsoft.com/office/drawing/2014/main" id="{02BA16D0-66A0-E626-DDC2-E141BF52FC73}"/>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endParaRPr lang="en-GB" sz="1800"/>
            </a:p>
          </p:txBody>
        </p:sp>
        <p:sp>
          <p:nvSpPr>
            <p:cNvPr id="45" name="Freeform: Shape 43">
              <a:extLst>
                <a:ext uri="{FF2B5EF4-FFF2-40B4-BE49-F238E27FC236}">
                  <a16:creationId xmlns:a16="http://schemas.microsoft.com/office/drawing/2014/main" id="{476D78E8-1FBB-CB89-ED75-99156E585A75}"/>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endParaRPr lang="en-GB" sz="1800"/>
            </a:p>
          </p:txBody>
        </p:sp>
      </p:grpSp>
      <p:sp>
        <p:nvSpPr>
          <p:cNvPr id="46" name="TextBox 45">
            <a:extLst>
              <a:ext uri="{FF2B5EF4-FFF2-40B4-BE49-F238E27FC236}">
                <a16:creationId xmlns:a16="http://schemas.microsoft.com/office/drawing/2014/main" id="{8C11A780-61FE-F858-3BED-30B7763FD773}"/>
              </a:ext>
            </a:extLst>
          </p:cNvPr>
          <p:cNvSpPr txBox="1"/>
          <p:nvPr/>
        </p:nvSpPr>
        <p:spPr>
          <a:xfrm>
            <a:off x="3632587" y="4124682"/>
            <a:ext cx="293639" cy="162287"/>
          </a:xfrm>
          <a:prstGeom prst="rect">
            <a:avLst/>
          </a:prstGeom>
        </p:spPr>
        <p:txBody>
          <a:bodyPr vert="horz" wrap="square" lIns="0" tIns="0" rIns="0" bIns="0" numCol="1" spcCol="0" rtlCol="0" anchor="ctr" anchorCtr="0">
            <a:noAutofit/>
          </a:bodyPr>
          <a:lstStyle/>
          <a:p>
            <a:r>
              <a:t>Texte:</a:t>
            </a:r>
          </a:p>
          <a:p>
            <a:r>
              <a:t>+</a:t>
            </a:r>
          </a:p>
        </p:txBody>
      </p:sp>
      <p:sp>
        <p:nvSpPr>
          <p:cNvPr id="47" name="TextBox 46">
            <a:extLst>
              <a:ext uri="{FF2B5EF4-FFF2-40B4-BE49-F238E27FC236}">
                <a16:creationId xmlns:a16="http://schemas.microsoft.com/office/drawing/2014/main" id="{52B8E82D-AEE6-DD52-ECBC-6BE48A4697CD}"/>
              </a:ext>
            </a:extLst>
          </p:cNvPr>
          <p:cNvSpPr txBox="1"/>
          <p:nvPr/>
        </p:nvSpPr>
        <p:spPr>
          <a:xfrm>
            <a:off x="4667172" y="4106427"/>
            <a:ext cx="997176" cy="220984"/>
          </a:xfrm>
          <a:prstGeom prst="rect">
            <a:avLst/>
          </a:prstGeom>
        </p:spPr>
        <p:txBody>
          <a:bodyPr vert="horz" wrap="square" lIns="0" tIns="0" rIns="0" bIns="0" numCol="1" spcCol="0" rtlCol="0" anchor="ctr" anchorCtr="0">
            <a:noAutofit/>
          </a:bodyPr>
          <a:lstStyle/>
          <a:p>
            <a:r>
              <a:t>Texte :</a:t>
            </a:r>
          </a:p>
          <a:p>
            <a:r>
              <a:t>+ dans le Sud</a:t>
            </a:r>
          </a:p>
        </p:txBody>
      </p:sp>
      <p:grpSp>
        <p:nvGrpSpPr>
          <p:cNvPr id="48" name="Group 47">
            <a:extLst>
              <a:ext uri="{FF2B5EF4-FFF2-40B4-BE49-F238E27FC236}">
                <a16:creationId xmlns:a16="http://schemas.microsoft.com/office/drawing/2014/main" id="{C0F5C345-E07E-3361-412F-DA1194612BB2}"/>
              </a:ext>
            </a:extLst>
          </p:cNvPr>
          <p:cNvGrpSpPr/>
          <p:nvPr/>
        </p:nvGrpSpPr>
        <p:grpSpPr>
          <a:xfrm>
            <a:off x="6679514" y="3901608"/>
            <a:ext cx="313196" cy="278957"/>
            <a:chOff x="3700462" y="1685925"/>
            <a:chExt cx="1743074" cy="1771649"/>
          </a:xfrm>
        </p:grpSpPr>
        <p:sp>
          <p:nvSpPr>
            <p:cNvPr id="49" name="Freeform: Shape 54">
              <a:extLst>
                <a:ext uri="{FF2B5EF4-FFF2-40B4-BE49-F238E27FC236}">
                  <a16:creationId xmlns:a16="http://schemas.microsoft.com/office/drawing/2014/main" id="{7E99052F-C5A1-788F-8961-0707E28EF919}"/>
                </a:ext>
              </a:extLst>
            </p:cNvPr>
            <p:cNvSpPr/>
            <p:nvPr/>
          </p:nvSpPr>
          <p:spPr>
            <a:xfrm>
              <a:off x="4116609" y="3047361"/>
              <a:ext cx="1260138" cy="172964"/>
            </a:xfrm>
            <a:custGeom>
              <a:avLst/>
              <a:gdLst>
                <a:gd name="connsiteX0" fmla="*/ 3400 w 1260138"/>
                <a:gd name="connsiteY0" fmla="*/ 86411 h 172964"/>
                <a:gd name="connsiteX1" fmla="*/ 80858 w 1260138"/>
                <a:gd name="connsiteY1" fmla="*/ 152 h 172964"/>
                <a:gd name="connsiteX2" fmla="*/ 120996 w 1260138"/>
                <a:gd name="connsiteY2" fmla="*/ 12621 h 172964"/>
                <a:gd name="connsiteX3" fmla="*/ 127064 w 1260138"/>
                <a:gd name="connsiteY3" fmla="*/ 23603 h 172964"/>
                <a:gd name="connsiteX4" fmla="*/ 108699 w 1260138"/>
                <a:gd name="connsiteY4" fmla="*/ 42167 h 172964"/>
                <a:gd name="connsiteX5" fmla="*/ 101146 w 1260138"/>
                <a:gd name="connsiteY5" fmla="*/ 39643 h 172964"/>
                <a:gd name="connsiteX6" fmla="*/ 75971 w 1260138"/>
                <a:gd name="connsiteY6" fmla="*/ 30290 h 172964"/>
                <a:gd name="connsiteX7" fmla="*/ 36433 w 1260138"/>
                <a:gd name="connsiteY7" fmla="*/ 86106 h 172964"/>
                <a:gd name="connsiteX8" fmla="*/ 32728 w 1260138"/>
                <a:gd name="connsiteY8" fmla="*/ 117138 h 172964"/>
                <a:gd name="connsiteX9" fmla="*/ 58350 w 1260138"/>
                <a:gd name="connsiteY9" fmla="*/ 141932 h 172964"/>
                <a:gd name="connsiteX10" fmla="*/ 92850 w 1260138"/>
                <a:gd name="connsiteY10" fmla="*/ 112538 h 172964"/>
                <a:gd name="connsiteX11" fmla="*/ 94336 w 1260138"/>
                <a:gd name="connsiteY11" fmla="*/ 103184 h 172964"/>
                <a:gd name="connsiteX12" fmla="*/ 92554 w 1260138"/>
                <a:gd name="connsiteY12" fmla="*/ 100955 h 172964"/>
                <a:gd name="connsiteX13" fmla="*/ 78343 w 1260138"/>
                <a:gd name="connsiteY13" fmla="*/ 100955 h 172964"/>
                <a:gd name="connsiteX14" fmla="*/ 65456 w 1260138"/>
                <a:gd name="connsiteY14" fmla="*/ 87449 h 172964"/>
                <a:gd name="connsiteX15" fmla="*/ 82487 w 1260138"/>
                <a:gd name="connsiteY15" fmla="*/ 70371 h 172964"/>
                <a:gd name="connsiteX16" fmla="*/ 117881 w 1260138"/>
                <a:gd name="connsiteY16" fmla="*/ 70371 h 172964"/>
                <a:gd name="connsiteX17" fmla="*/ 128692 w 1260138"/>
                <a:gd name="connsiteY17" fmla="*/ 83287 h 172964"/>
                <a:gd name="connsiteX18" fmla="*/ 124101 w 1260138"/>
                <a:gd name="connsiteY18" fmla="*/ 112681 h 172964"/>
                <a:gd name="connsiteX19" fmla="*/ 53464 w 1260138"/>
                <a:gd name="connsiteY19" fmla="*/ 172222 h 172964"/>
                <a:gd name="connsiteX20" fmla="*/ 0 w 1260138"/>
                <a:gd name="connsiteY20" fmla="*/ 122034 h 172964"/>
                <a:gd name="connsiteX21" fmla="*/ 3410 w 1260138"/>
                <a:gd name="connsiteY21" fmla="*/ 86106 h 172964"/>
                <a:gd name="connsiteX22" fmla="*/ 3410 w 1260138"/>
                <a:gd name="connsiteY22" fmla="*/ 86411 h 172964"/>
                <a:gd name="connsiteX23" fmla="*/ 156391 w 1260138"/>
                <a:gd name="connsiteY23" fmla="*/ 171631 h 172964"/>
                <a:gd name="connsiteX24" fmla="*/ 144685 w 1260138"/>
                <a:gd name="connsiteY24" fmla="*/ 157229 h 172964"/>
                <a:gd name="connsiteX25" fmla="*/ 167354 w 1260138"/>
                <a:gd name="connsiteY25" fmla="*/ 13659 h 172964"/>
                <a:gd name="connsiteX26" fmla="*/ 185118 w 1260138"/>
                <a:gd name="connsiteY26" fmla="*/ 152 h 172964"/>
                <a:gd name="connsiteX27" fmla="*/ 199339 w 1260138"/>
                <a:gd name="connsiteY27" fmla="*/ 11135 h 172964"/>
                <a:gd name="connsiteX28" fmla="*/ 198149 w 1260138"/>
                <a:gd name="connsiteY28" fmla="*/ 20193 h 172964"/>
                <a:gd name="connsiteX29" fmla="*/ 179346 w 1260138"/>
                <a:gd name="connsiteY29" fmla="*/ 138522 h 172964"/>
                <a:gd name="connsiteX30" fmla="*/ 181270 w 1260138"/>
                <a:gd name="connsiteY30" fmla="*/ 140741 h 172964"/>
                <a:gd name="connsiteX31" fmla="*/ 232362 w 1260138"/>
                <a:gd name="connsiteY31" fmla="*/ 140741 h 172964"/>
                <a:gd name="connsiteX32" fmla="*/ 245545 w 1260138"/>
                <a:gd name="connsiteY32" fmla="*/ 154257 h 172964"/>
                <a:gd name="connsiteX33" fmla="*/ 226733 w 1260138"/>
                <a:gd name="connsiteY33" fmla="*/ 171631 h 172964"/>
                <a:gd name="connsiteX34" fmla="*/ 156391 w 1260138"/>
                <a:gd name="connsiteY34" fmla="*/ 171631 h 172964"/>
                <a:gd name="connsiteX35" fmla="*/ 291751 w 1260138"/>
                <a:gd name="connsiteY35" fmla="*/ 163611 h 172964"/>
                <a:gd name="connsiteX36" fmla="*/ 277825 w 1260138"/>
                <a:gd name="connsiteY36" fmla="*/ 172669 h 172964"/>
                <a:gd name="connsiteX37" fmla="*/ 260937 w 1260138"/>
                <a:gd name="connsiteY37" fmla="*/ 159896 h 172964"/>
                <a:gd name="connsiteX38" fmla="*/ 263166 w 1260138"/>
                <a:gd name="connsiteY38" fmla="*/ 152029 h 172964"/>
                <a:gd name="connsiteX39" fmla="*/ 330098 w 1260138"/>
                <a:gd name="connsiteY39" fmla="*/ 22422 h 172964"/>
                <a:gd name="connsiteX40" fmla="*/ 356911 w 1260138"/>
                <a:gd name="connsiteY40" fmla="*/ 152 h 172964"/>
                <a:gd name="connsiteX41" fmla="*/ 377485 w 1260138"/>
                <a:gd name="connsiteY41" fmla="*/ 22422 h 172964"/>
                <a:gd name="connsiteX42" fmla="*/ 404155 w 1260138"/>
                <a:gd name="connsiteY42" fmla="*/ 153219 h 172964"/>
                <a:gd name="connsiteX43" fmla="*/ 404889 w 1260138"/>
                <a:gd name="connsiteY43" fmla="*/ 159601 h 172964"/>
                <a:gd name="connsiteX44" fmla="*/ 385782 w 1260138"/>
                <a:gd name="connsiteY44" fmla="*/ 172517 h 172964"/>
                <a:gd name="connsiteX45" fmla="*/ 374828 w 1260138"/>
                <a:gd name="connsiteY45" fmla="*/ 163163 h 172964"/>
                <a:gd name="connsiteX46" fmla="*/ 370237 w 1260138"/>
                <a:gd name="connsiteY46" fmla="*/ 140894 h 172964"/>
                <a:gd name="connsiteX47" fmla="*/ 367122 w 1260138"/>
                <a:gd name="connsiteY47" fmla="*/ 137484 h 172964"/>
                <a:gd name="connsiteX48" fmla="*/ 307753 w 1260138"/>
                <a:gd name="connsiteY48" fmla="*/ 137484 h 172964"/>
                <a:gd name="connsiteX49" fmla="*/ 303600 w 1260138"/>
                <a:gd name="connsiteY49" fmla="*/ 140894 h 172964"/>
                <a:gd name="connsiteX50" fmla="*/ 291903 w 1260138"/>
                <a:gd name="connsiteY50" fmla="*/ 163458 h 172964"/>
                <a:gd name="connsiteX51" fmla="*/ 291751 w 1260138"/>
                <a:gd name="connsiteY51" fmla="*/ 163611 h 172964"/>
                <a:gd name="connsiteX52" fmla="*/ 360902 w 1260138"/>
                <a:gd name="connsiteY52" fmla="*/ 106747 h 172964"/>
                <a:gd name="connsiteX53" fmla="*/ 363426 w 1260138"/>
                <a:gd name="connsiteY53" fmla="*/ 104966 h 172964"/>
                <a:gd name="connsiteX54" fmla="*/ 363131 w 1260138"/>
                <a:gd name="connsiteY54" fmla="*/ 101851 h 172964"/>
                <a:gd name="connsiteX55" fmla="*/ 354540 w 1260138"/>
                <a:gd name="connsiteY55" fmla="*/ 47654 h 172964"/>
                <a:gd name="connsiteX56" fmla="*/ 352320 w 1260138"/>
                <a:gd name="connsiteY56" fmla="*/ 39786 h 172964"/>
                <a:gd name="connsiteX57" fmla="*/ 347872 w 1260138"/>
                <a:gd name="connsiteY57" fmla="*/ 47654 h 172964"/>
                <a:gd name="connsiteX58" fmla="*/ 321659 w 1260138"/>
                <a:gd name="connsiteY58" fmla="*/ 101851 h 172964"/>
                <a:gd name="connsiteX59" fmla="*/ 320478 w 1260138"/>
                <a:gd name="connsiteY59" fmla="*/ 105261 h 172964"/>
                <a:gd name="connsiteX60" fmla="*/ 322402 w 1260138"/>
                <a:gd name="connsiteY60" fmla="*/ 106747 h 172964"/>
                <a:gd name="connsiteX61" fmla="*/ 360902 w 1260138"/>
                <a:gd name="connsiteY61" fmla="*/ 106747 h 172964"/>
                <a:gd name="connsiteX62" fmla="*/ 498186 w 1260138"/>
                <a:gd name="connsiteY62" fmla="*/ 30290 h 172964"/>
                <a:gd name="connsiteX63" fmla="*/ 472564 w 1260138"/>
                <a:gd name="connsiteY63" fmla="*/ 48101 h 172964"/>
                <a:gd name="connsiteX64" fmla="*/ 490337 w 1260138"/>
                <a:gd name="connsiteY64" fmla="*/ 65027 h 172964"/>
                <a:gd name="connsiteX65" fmla="*/ 511073 w 1260138"/>
                <a:gd name="connsiteY65" fmla="*/ 75124 h 172964"/>
                <a:gd name="connsiteX66" fmla="*/ 545583 w 1260138"/>
                <a:gd name="connsiteY66" fmla="*/ 120853 h 172964"/>
                <a:gd name="connsiteX67" fmla="*/ 482489 w 1260138"/>
                <a:gd name="connsiteY67" fmla="*/ 172517 h 172964"/>
                <a:gd name="connsiteX68" fmla="*/ 423405 w 1260138"/>
                <a:gd name="connsiteY68" fmla="*/ 148314 h 172964"/>
                <a:gd name="connsiteX69" fmla="*/ 420291 w 1260138"/>
                <a:gd name="connsiteY69" fmla="*/ 140303 h 172964"/>
                <a:gd name="connsiteX70" fmla="*/ 438807 w 1260138"/>
                <a:gd name="connsiteY70" fmla="*/ 123082 h 172964"/>
                <a:gd name="connsiteX71" fmla="*/ 449313 w 1260138"/>
                <a:gd name="connsiteY71" fmla="*/ 128426 h 172964"/>
                <a:gd name="connsiteX72" fmla="*/ 485013 w 1260138"/>
                <a:gd name="connsiteY72" fmla="*/ 142380 h 172964"/>
                <a:gd name="connsiteX73" fmla="*/ 511816 w 1260138"/>
                <a:gd name="connsiteY73" fmla="*/ 123520 h 172964"/>
                <a:gd name="connsiteX74" fmla="*/ 495224 w 1260138"/>
                <a:gd name="connsiteY74" fmla="*/ 104223 h 172964"/>
                <a:gd name="connsiteX75" fmla="*/ 473897 w 1260138"/>
                <a:gd name="connsiteY75" fmla="*/ 94126 h 172964"/>
                <a:gd name="connsiteX76" fmla="*/ 438655 w 1260138"/>
                <a:gd name="connsiteY76" fmla="*/ 49292 h 172964"/>
                <a:gd name="connsiteX77" fmla="*/ 499967 w 1260138"/>
                <a:gd name="connsiteY77" fmla="*/ 0 h 172964"/>
                <a:gd name="connsiteX78" fmla="*/ 550316 w 1260138"/>
                <a:gd name="connsiteY78" fmla="*/ 16631 h 172964"/>
                <a:gd name="connsiteX79" fmla="*/ 555650 w 1260138"/>
                <a:gd name="connsiteY79" fmla="*/ 27165 h 172964"/>
                <a:gd name="connsiteX80" fmla="*/ 538467 w 1260138"/>
                <a:gd name="connsiteY80" fmla="*/ 44396 h 172964"/>
                <a:gd name="connsiteX81" fmla="*/ 528257 w 1260138"/>
                <a:gd name="connsiteY81" fmla="*/ 40529 h 172964"/>
                <a:gd name="connsiteX82" fmla="*/ 497891 w 1260138"/>
                <a:gd name="connsiteY82" fmla="*/ 30290 h 172964"/>
                <a:gd name="connsiteX83" fmla="*/ 498186 w 1260138"/>
                <a:gd name="connsiteY83" fmla="*/ 30290 h 172964"/>
                <a:gd name="connsiteX84" fmla="*/ 620668 w 1260138"/>
                <a:gd name="connsiteY84" fmla="*/ 32071 h 172964"/>
                <a:gd name="connsiteX85" fmla="*/ 618296 w 1260138"/>
                <a:gd name="connsiteY85" fmla="*/ 34300 h 172964"/>
                <a:gd name="connsiteX86" fmla="*/ 613115 w 1260138"/>
                <a:gd name="connsiteY86" fmla="*/ 66065 h 172964"/>
                <a:gd name="connsiteX87" fmla="*/ 615039 w 1260138"/>
                <a:gd name="connsiteY87" fmla="*/ 68294 h 172964"/>
                <a:gd name="connsiteX88" fmla="*/ 661387 w 1260138"/>
                <a:gd name="connsiteY88" fmla="*/ 68294 h 172964"/>
                <a:gd name="connsiteX89" fmla="*/ 674570 w 1260138"/>
                <a:gd name="connsiteY89" fmla="*/ 81810 h 172964"/>
                <a:gd name="connsiteX90" fmla="*/ 655758 w 1260138"/>
                <a:gd name="connsiteY90" fmla="*/ 99174 h 172964"/>
                <a:gd name="connsiteX91" fmla="*/ 610153 w 1260138"/>
                <a:gd name="connsiteY91" fmla="*/ 99174 h 172964"/>
                <a:gd name="connsiteX92" fmla="*/ 607486 w 1260138"/>
                <a:gd name="connsiteY92" fmla="*/ 101403 h 172964"/>
                <a:gd name="connsiteX93" fmla="*/ 598446 w 1260138"/>
                <a:gd name="connsiteY93" fmla="*/ 159153 h 172964"/>
                <a:gd name="connsiteX94" fmla="*/ 580682 w 1260138"/>
                <a:gd name="connsiteY94" fmla="*/ 172669 h 172964"/>
                <a:gd name="connsiteX95" fmla="*/ 566461 w 1260138"/>
                <a:gd name="connsiteY95" fmla="*/ 161677 h 172964"/>
                <a:gd name="connsiteX96" fmla="*/ 567642 w 1260138"/>
                <a:gd name="connsiteY96" fmla="*/ 152629 h 172964"/>
                <a:gd name="connsiteX97" fmla="*/ 589417 w 1260138"/>
                <a:gd name="connsiteY97" fmla="*/ 15735 h 172964"/>
                <a:gd name="connsiteX98" fmla="*/ 605561 w 1260138"/>
                <a:gd name="connsiteY98" fmla="*/ 1333 h 172964"/>
                <a:gd name="connsiteX99" fmla="*/ 688343 w 1260138"/>
                <a:gd name="connsiteY99" fmla="*/ 1333 h 172964"/>
                <a:gd name="connsiteX100" fmla="*/ 701526 w 1260138"/>
                <a:gd name="connsiteY100" fmla="*/ 14850 h 172964"/>
                <a:gd name="connsiteX101" fmla="*/ 682714 w 1260138"/>
                <a:gd name="connsiteY101" fmla="*/ 32223 h 172964"/>
                <a:gd name="connsiteX102" fmla="*/ 620668 w 1260138"/>
                <a:gd name="connsiteY102" fmla="*/ 32223 h 172964"/>
                <a:gd name="connsiteX103" fmla="*/ 620668 w 1260138"/>
                <a:gd name="connsiteY103" fmla="*/ 32071 h 172964"/>
                <a:gd name="connsiteX104" fmla="*/ 703155 w 1260138"/>
                <a:gd name="connsiteY104" fmla="*/ 163611 h 172964"/>
                <a:gd name="connsiteX105" fmla="*/ 689229 w 1260138"/>
                <a:gd name="connsiteY105" fmla="*/ 172669 h 172964"/>
                <a:gd name="connsiteX106" fmla="*/ 672351 w 1260138"/>
                <a:gd name="connsiteY106" fmla="*/ 159896 h 172964"/>
                <a:gd name="connsiteX107" fmla="*/ 674570 w 1260138"/>
                <a:gd name="connsiteY107" fmla="*/ 152029 h 172964"/>
                <a:gd name="connsiteX108" fmla="*/ 741512 w 1260138"/>
                <a:gd name="connsiteY108" fmla="*/ 22422 h 172964"/>
                <a:gd name="connsiteX109" fmla="*/ 768315 w 1260138"/>
                <a:gd name="connsiteY109" fmla="*/ 152 h 172964"/>
                <a:gd name="connsiteX110" fmla="*/ 788756 w 1260138"/>
                <a:gd name="connsiteY110" fmla="*/ 22422 h 172964"/>
                <a:gd name="connsiteX111" fmla="*/ 815407 w 1260138"/>
                <a:gd name="connsiteY111" fmla="*/ 153219 h 172964"/>
                <a:gd name="connsiteX112" fmla="*/ 816150 w 1260138"/>
                <a:gd name="connsiteY112" fmla="*/ 159601 h 172964"/>
                <a:gd name="connsiteX113" fmla="*/ 797043 w 1260138"/>
                <a:gd name="connsiteY113" fmla="*/ 172517 h 172964"/>
                <a:gd name="connsiteX114" fmla="*/ 786089 w 1260138"/>
                <a:gd name="connsiteY114" fmla="*/ 163163 h 172964"/>
                <a:gd name="connsiteX115" fmla="*/ 781498 w 1260138"/>
                <a:gd name="connsiteY115" fmla="*/ 140894 h 172964"/>
                <a:gd name="connsiteX116" fmla="*/ 778383 w 1260138"/>
                <a:gd name="connsiteY116" fmla="*/ 137484 h 172964"/>
                <a:gd name="connsiteX117" fmla="*/ 718995 w 1260138"/>
                <a:gd name="connsiteY117" fmla="*/ 137484 h 172964"/>
                <a:gd name="connsiteX118" fmla="*/ 714851 w 1260138"/>
                <a:gd name="connsiteY118" fmla="*/ 140894 h 172964"/>
                <a:gd name="connsiteX119" fmla="*/ 703155 w 1260138"/>
                <a:gd name="connsiteY119" fmla="*/ 163458 h 172964"/>
                <a:gd name="connsiteX120" fmla="*/ 703155 w 1260138"/>
                <a:gd name="connsiteY120" fmla="*/ 163611 h 172964"/>
                <a:gd name="connsiteX121" fmla="*/ 772316 w 1260138"/>
                <a:gd name="connsiteY121" fmla="*/ 106747 h 172964"/>
                <a:gd name="connsiteX122" fmla="*/ 774830 w 1260138"/>
                <a:gd name="connsiteY122" fmla="*/ 104966 h 172964"/>
                <a:gd name="connsiteX123" fmla="*/ 774535 w 1260138"/>
                <a:gd name="connsiteY123" fmla="*/ 101851 h 172964"/>
                <a:gd name="connsiteX124" fmla="*/ 765943 w 1260138"/>
                <a:gd name="connsiteY124" fmla="*/ 47654 h 172964"/>
                <a:gd name="connsiteX125" fmla="*/ 763724 w 1260138"/>
                <a:gd name="connsiteY125" fmla="*/ 39786 h 172964"/>
                <a:gd name="connsiteX126" fmla="*/ 759285 w 1260138"/>
                <a:gd name="connsiteY126" fmla="*/ 47654 h 172964"/>
                <a:gd name="connsiteX127" fmla="*/ 733215 w 1260138"/>
                <a:gd name="connsiteY127" fmla="*/ 101851 h 172964"/>
                <a:gd name="connsiteX128" fmla="*/ 732034 w 1260138"/>
                <a:gd name="connsiteY128" fmla="*/ 105261 h 172964"/>
                <a:gd name="connsiteX129" fmla="*/ 733958 w 1260138"/>
                <a:gd name="connsiteY129" fmla="*/ 106747 h 172964"/>
                <a:gd name="connsiteX130" fmla="*/ 772316 w 1260138"/>
                <a:gd name="connsiteY130" fmla="*/ 106747 h 172964"/>
                <a:gd name="connsiteX131" fmla="*/ 909742 w 1260138"/>
                <a:gd name="connsiteY131" fmla="*/ 30290 h 172964"/>
                <a:gd name="connsiteX132" fmla="*/ 884120 w 1260138"/>
                <a:gd name="connsiteY132" fmla="*/ 48101 h 172964"/>
                <a:gd name="connsiteX133" fmla="*/ 901894 w 1260138"/>
                <a:gd name="connsiteY133" fmla="*/ 65027 h 172964"/>
                <a:gd name="connsiteX134" fmla="*/ 922630 w 1260138"/>
                <a:gd name="connsiteY134" fmla="*/ 75124 h 172964"/>
                <a:gd name="connsiteX135" fmla="*/ 957139 w 1260138"/>
                <a:gd name="connsiteY135" fmla="*/ 120853 h 172964"/>
                <a:gd name="connsiteX136" fmla="*/ 894045 w 1260138"/>
                <a:gd name="connsiteY136" fmla="*/ 172517 h 172964"/>
                <a:gd name="connsiteX137" fmla="*/ 834962 w 1260138"/>
                <a:gd name="connsiteY137" fmla="*/ 148314 h 172964"/>
                <a:gd name="connsiteX138" fmla="*/ 831847 w 1260138"/>
                <a:gd name="connsiteY138" fmla="*/ 140303 h 172964"/>
                <a:gd name="connsiteX139" fmla="*/ 850363 w 1260138"/>
                <a:gd name="connsiteY139" fmla="*/ 123082 h 172964"/>
                <a:gd name="connsiteX140" fmla="*/ 860870 w 1260138"/>
                <a:gd name="connsiteY140" fmla="*/ 128426 h 172964"/>
                <a:gd name="connsiteX141" fmla="*/ 896560 w 1260138"/>
                <a:gd name="connsiteY141" fmla="*/ 142380 h 172964"/>
                <a:gd name="connsiteX142" fmla="*/ 923373 w 1260138"/>
                <a:gd name="connsiteY142" fmla="*/ 123520 h 172964"/>
                <a:gd name="connsiteX143" fmla="*/ 906780 w 1260138"/>
                <a:gd name="connsiteY143" fmla="*/ 104223 h 172964"/>
                <a:gd name="connsiteX144" fmla="*/ 885606 w 1260138"/>
                <a:gd name="connsiteY144" fmla="*/ 94126 h 172964"/>
                <a:gd name="connsiteX145" fmla="*/ 850363 w 1260138"/>
                <a:gd name="connsiteY145" fmla="*/ 49292 h 172964"/>
                <a:gd name="connsiteX146" fmla="*/ 911666 w 1260138"/>
                <a:gd name="connsiteY146" fmla="*/ 0 h 172964"/>
                <a:gd name="connsiteX147" fmla="*/ 962025 w 1260138"/>
                <a:gd name="connsiteY147" fmla="*/ 16631 h 172964"/>
                <a:gd name="connsiteX148" fmla="*/ 967349 w 1260138"/>
                <a:gd name="connsiteY148" fmla="*/ 27165 h 172964"/>
                <a:gd name="connsiteX149" fmla="*/ 950319 w 1260138"/>
                <a:gd name="connsiteY149" fmla="*/ 44396 h 172964"/>
                <a:gd name="connsiteX150" fmla="*/ 940108 w 1260138"/>
                <a:gd name="connsiteY150" fmla="*/ 40529 h 172964"/>
                <a:gd name="connsiteX151" fmla="*/ 909895 w 1260138"/>
                <a:gd name="connsiteY151" fmla="*/ 30290 h 172964"/>
                <a:gd name="connsiteX152" fmla="*/ 909742 w 1260138"/>
                <a:gd name="connsiteY152" fmla="*/ 30290 h 172964"/>
                <a:gd name="connsiteX153" fmla="*/ 1097232 w 1260138"/>
                <a:gd name="connsiteY153" fmla="*/ 1191 h 172964"/>
                <a:gd name="connsiteX154" fmla="*/ 1110415 w 1260138"/>
                <a:gd name="connsiteY154" fmla="*/ 14697 h 172964"/>
                <a:gd name="connsiteX155" fmla="*/ 1091603 w 1260138"/>
                <a:gd name="connsiteY155" fmla="*/ 32071 h 172964"/>
                <a:gd name="connsiteX156" fmla="*/ 1031919 w 1260138"/>
                <a:gd name="connsiteY156" fmla="*/ 32071 h 172964"/>
                <a:gd name="connsiteX157" fmla="*/ 1029262 w 1260138"/>
                <a:gd name="connsiteY157" fmla="*/ 34300 h 172964"/>
                <a:gd name="connsiteX158" fmla="*/ 1024366 w 1260138"/>
                <a:gd name="connsiteY158" fmla="*/ 66065 h 172964"/>
                <a:gd name="connsiteX159" fmla="*/ 1026147 w 1260138"/>
                <a:gd name="connsiteY159" fmla="*/ 68294 h 172964"/>
                <a:gd name="connsiteX160" fmla="*/ 1077239 w 1260138"/>
                <a:gd name="connsiteY160" fmla="*/ 68294 h 172964"/>
                <a:gd name="connsiteX161" fmla="*/ 1090422 w 1260138"/>
                <a:gd name="connsiteY161" fmla="*/ 81801 h 172964"/>
                <a:gd name="connsiteX162" fmla="*/ 1071610 w 1260138"/>
                <a:gd name="connsiteY162" fmla="*/ 99174 h 172964"/>
                <a:gd name="connsiteX163" fmla="*/ 1021261 w 1260138"/>
                <a:gd name="connsiteY163" fmla="*/ 99174 h 172964"/>
                <a:gd name="connsiteX164" fmla="*/ 1018746 w 1260138"/>
                <a:gd name="connsiteY164" fmla="*/ 101403 h 172964"/>
                <a:gd name="connsiteX165" fmla="*/ 1012822 w 1260138"/>
                <a:gd name="connsiteY165" fmla="*/ 138665 h 172964"/>
                <a:gd name="connsiteX166" fmla="*/ 1014594 w 1260138"/>
                <a:gd name="connsiteY166" fmla="*/ 140894 h 172964"/>
                <a:gd name="connsiteX167" fmla="*/ 1077392 w 1260138"/>
                <a:gd name="connsiteY167" fmla="*/ 140894 h 172964"/>
                <a:gd name="connsiteX168" fmla="*/ 1090565 w 1260138"/>
                <a:gd name="connsiteY168" fmla="*/ 154400 h 172964"/>
                <a:gd name="connsiteX169" fmla="*/ 1071763 w 1260138"/>
                <a:gd name="connsiteY169" fmla="*/ 171774 h 172964"/>
                <a:gd name="connsiteX170" fmla="*/ 990162 w 1260138"/>
                <a:gd name="connsiteY170" fmla="*/ 171774 h 172964"/>
                <a:gd name="connsiteX171" fmla="*/ 978170 w 1260138"/>
                <a:gd name="connsiteY171" fmla="*/ 157372 h 172964"/>
                <a:gd name="connsiteX172" fmla="*/ 1000382 w 1260138"/>
                <a:gd name="connsiteY172" fmla="*/ 15888 h 172964"/>
                <a:gd name="connsiteX173" fmla="*/ 1016822 w 1260138"/>
                <a:gd name="connsiteY173" fmla="*/ 1486 h 172964"/>
                <a:gd name="connsiteX174" fmla="*/ 1097232 w 1260138"/>
                <a:gd name="connsiteY174" fmla="*/ 1486 h 172964"/>
                <a:gd name="connsiteX175" fmla="*/ 1097232 w 1260138"/>
                <a:gd name="connsiteY175" fmla="*/ 1191 h 172964"/>
                <a:gd name="connsiteX176" fmla="*/ 1190682 w 1260138"/>
                <a:gd name="connsiteY176" fmla="*/ 108233 h 172964"/>
                <a:gd name="connsiteX177" fmla="*/ 1187272 w 1260138"/>
                <a:gd name="connsiteY177" fmla="*/ 106004 h 172964"/>
                <a:gd name="connsiteX178" fmla="*/ 1160469 w 1260138"/>
                <a:gd name="connsiteY178" fmla="*/ 106004 h 172964"/>
                <a:gd name="connsiteX179" fmla="*/ 1157802 w 1260138"/>
                <a:gd name="connsiteY179" fmla="*/ 108233 h 172964"/>
                <a:gd name="connsiteX180" fmla="*/ 1149810 w 1260138"/>
                <a:gd name="connsiteY180" fmla="*/ 159153 h 172964"/>
                <a:gd name="connsiteX181" fmla="*/ 1132037 w 1260138"/>
                <a:gd name="connsiteY181" fmla="*/ 172669 h 172964"/>
                <a:gd name="connsiteX182" fmla="*/ 1117816 w 1260138"/>
                <a:gd name="connsiteY182" fmla="*/ 161677 h 172964"/>
                <a:gd name="connsiteX183" fmla="*/ 1119007 w 1260138"/>
                <a:gd name="connsiteY183" fmla="*/ 152629 h 172964"/>
                <a:gd name="connsiteX184" fmla="*/ 1140771 w 1260138"/>
                <a:gd name="connsiteY184" fmla="*/ 15735 h 172964"/>
                <a:gd name="connsiteX185" fmla="*/ 1157211 w 1260138"/>
                <a:gd name="connsiteY185" fmla="*/ 1333 h 172964"/>
                <a:gd name="connsiteX186" fmla="*/ 1215857 w 1260138"/>
                <a:gd name="connsiteY186" fmla="*/ 1333 h 172964"/>
                <a:gd name="connsiteX187" fmla="*/ 1260139 w 1260138"/>
                <a:gd name="connsiteY187" fmla="*/ 43501 h 172964"/>
                <a:gd name="connsiteX188" fmla="*/ 1224296 w 1260138"/>
                <a:gd name="connsiteY188" fmla="*/ 103184 h 172964"/>
                <a:gd name="connsiteX189" fmla="*/ 1222524 w 1260138"/>
                <a:gd name="connsiteY189" fmla="*/ 104966 h 172964"/>
                <a:gd name="connsiteX190" fmla="*/ 1222820 w 1260138"/>
                <a:gd name="connsiteY190" fmla="*/ 106004 h 172964"/>
                <a:gd name="connsiteX191" fmla="*/ 1242365 w 1260138"/>
                <a:gd name="connsiteY191" fmla="*/ 150847 h 172964"/>
                <a:gd name="connsiteX192" fmla="*/ 1244879 w 1260138"/>
                <a:gd name="connsiteY192" fmla="*/ 159458 h 172964"/>
                <a:gd name="connsiteX193" fmla="*/ 1225782 w 1260138"/>
                <a:gd name="connsiteY193" fmla="*/ 172964 h 172964"/>
                <a:gd name="connsiteX194" fmla="*/ 1214228 w 1260138"/>
                <a:gd name="connsiteY194" fmla="*/ 164354 h 172964"/>
                <a:gd name="connsiteX195" fmla="*/ 1190978 w 1260138"/>
                <a:gd name="connsiteY195" fmla="*/ 108528 h 172964"/>
                <a:gd name="connsiteX196" fmla="*/ 1190682 w 1260138"/>
                <a:gd name="connsiteY196" fmla="*/ 108233 h 172964"/>
                <a:gd name="connsiteX197" fmla="*/ 1205046 w 1260138"/>
                <a:gd name="connsiteY197" fmla="*/ 75419 h 172964"/>
                <a:gd name="connsiteX198" fmla="*/ 1226372 w 1260138"/>
                <a:gd name="connsiteY198" fmla="*/ 49139 h 172964"/>
                <a:gd name="connsiteX199" fmla="*/ 1209789 w 1260138"/>
                <a:gd name="connsiteY199" fmla="*/ 31775 h 172964"/>
                <a:gd name="connsiteX200" fmla="*/ 1172166 w 1260138"/>
                <a:gd name="connsiteY200" fmla="*/ 31775 h 172964"/>
                <a:gd name="connsiteX201" fmla="*/ 1169499 w 1260138"/>
                <a:gd name="connsiteY201" fmla="*/ 34004 h 172964"/>
                <a:gd name="connsiteX202" fmla="*/ 1163431 w 1260138"/>
                <a:gd name="connsiteY202" fmla="*/ 73200 h 172964"/>
                <a:gd name="connsiteX203" fmla="*/ 1165355 w 1260138"/>
                <a:gd name="connsiteY203" fmla="*/ 75419 h 172964"/>
                <a:gd name="connsiteX204" fmla="*/ 1205198 w 1260138"/>
                <a:gd name="connsiteY204" fmla="*/ 75419 h 172964"/>
                <a:gd name="connsiteX205" fmla="*/ 1205046 w 1260138"/>
                <a:gd name="connsiteY205" fmla="*/ 75419 h 17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60138" h="172964">
                  <a:moveTo>
                    <a:pt x="3400" y="86411"/>
                  </a:moveTo>
                  <a:cubicBezTo>
                    <a:pt x="11259" y="36376"/>
                    <a:pt x="21917" y="152"/>
                    <a:pt x="80858" y="152"/>
                  </a:cubicBezTo>
                  <a:cubicBezTo>
                    <a:pt x="94336" y="152"/>
                    <a:pt x="110919" y="3562"/>
                    <a:pt x="120996" y="12621"/>
                  </a:cubicBezTo>
                  <a:cubicBezTo>
                    <a:pt x="124397" y="15735"/>
                    <a:pt x="127064" y="18707"/>
                    <a:pt x="127064" y="23603"/>
                  </a:cubicBezTo>
                  <a:cubicBezTo>
                    <a:pt x="127064" y="32214"/>
                    <a:pt x="118329" y="42167"/>
                    <a:pt x="108699" y="42167"/>
                  </a:cubicBezTo>
                  <a:cubicBezTo>
                    <a:pt x="105962" y="42253"/>
                    <a:pt x="103283" y="41358"/>
                    <a:pt x="101146" y="39643"/>
                  </a:cubicBezTo>
                  <a:cubicBezTo>
                    <a:pt x="91811" y="32071"/>
                    <a:pt x="86039" y="30290"/>
                    <a:pt x="75971" y="30290"/>
                  </a:cubicBezTo>
                  <a:cubicBezTo>
                    <a:pt x="42796" y="30290"/>
                    <a:pt x="40729" y="63094"/>
                    <a:pt x="36433" y="86106"/>
                  </a:cubicBezTo>
                  <a:cubicBezTo>
                    <a:pt x="33909" y="98584"/>
                    <a:pt x="32728" y="108823"/>
                    <a:pt x="32728" y="117138"/>
                  </a:cubicBezTo>
                  <a:cubicBezTo>
                    <a:pt x="32728" y="134512"/>
                    <a:pt x="40138" y="141932"/>
                    <a:pt x="58350" y="141932"/>
                  </a:cubicBezTo>
                  <a:cubicBezTo>
                    <a:pt x="76562" y="141932"/>
                    <a:pt x="89897" y="130654"/>
                    <a:pt x="92850" y="112538"/>
                  </a:cubicBezTo>
                  <a:lnTo>
                    <a:pt x="94336" y="103184"/>
                  </a:lnTo>
                  <a:cubicBezTo>
                    <a:pt x="94631" y="101403"/>
                    <a:pt x="94040" y="100955"/>
                    <a:pt x="92554" y="100955"/>
                  </a:cubicBezTo>
                  <a:lnTo>
                    <a:pt x="78343" y="100955"/>
                  </a:lnTo>
                  <a:cubicBezTo>
                    <a:pt x="68866" y="100955"/>
                    <a:pt x="65456" y="94574"/>
                    <a:pt x="65456" y="87449"/>
                  </a:cubicBezTo>
                  <a:cubicBezTo>
                    <a:pt x="65456" y="78391"/>
                    <a:pt x="71380" y="70371"/>
                    <a:pt x="82487" y="70371"/>
                  </a:cubicBezTo>
                  <a:lnTo>
                    <a:pt x="117881" y="70371"/>
                  </a:lnTo>
                  <a:cubicBezTo>
                    <a:pt x="124987" y="70371"/>
                    <a:pt x="130026" y="74085"/>
                    <a:pt x="128692" y="83287"/>
                  </a:cubicBezTo>
                  <a:lnTo>
                    <a:pt x="124101" y="112681"/>
                  </a:lnTo>
                  <a:cubicBezTo>
                    <a:pt x="118034" y="151438"/>
                    <a:pt x="95812" y="172222"/>
                    <a:pt x="53464" y="172222"/>
                  </a:cubicBezTo>
                  <a:cubicBezTo>
                    <a:pt x="20736" y="172222"/>
                    <a:pt x="0" y="158563"/>
                    <a:pt x="0" y="122034"/>
                  </a:cubicBezTo>
                  <a:cubicBezTo>
                    <a:pt x="0" y="111795"/>
                    <a:pt x="1181" y="99765"/>
                    <a:pt x="3410" y="86106"/>
                  </a:cubicBezTo>
                  <a:lnTo>
                    <a:pt x="3410" y="86411"/>
                  </a:lnTo>
                  <a:close/>
                  <a:moveTo>
                    <a:pt x="156391" y="171631"/>
                  </a:moveTo>
                  <a:cubicBezTo>
                    <a:pt x="147799" y="171631"/>
                    <a:pt x="143208" y="166430"/>
                    <a:pt x="144685" y="157229"/>
                  </a:cubicBezTo>
                  <a:lnTo>
                    <a:pt x="167354" y="13659"/>
                  </a:lnTo>
                  <a:cubicBezTo>
                    <a:pt x="169126" y="2819"/>
                    <a:pt x="175936" y="152"/>
                    <a:pt x="185118" y="152"/>
                  </a:cubicBezTo>
                  <a:cubicBezTo>
                    <a:pt x="191929" y="152"/>
                    <a:pt x="199339" y="2667"/>
                    <a:pt x="199339" y="11135"/>
                  </a:cubicBezTo>
                  <a:cubicBezTo>
                    <a:pt x="199339" y="12621"/>
                    <a:pt x="198892" y="16335"/>
                    <a:pt x="198149" y="20193"/>
                  </a:cubicBezTo>
                  <a:lnTo>
                    <a:pt x="179346" y="138522"/>
                  </a:lnTo>
                  <a:cubicBezTo>
                    <a:pt x="179041" y="140303"/>
                    <a:pt x="179632" y="140741"/>
                    <a:pt x="181270" y="140741"/>
                  </a:cubicBezTo>
                  <a:lnTo>
                    <a:pt x="232362" y="140741"/>
                  </a:lnTo>
                  <a:cubicBezTo>
                    <a:pt x="242135" y="140741"/>
                    <a:pt x="245545" y="147133"/>
                    <a:pt x="245545" y="154257"/>
                  </a:cubicBezTo>
                  <a:cubicBezTo>
                    <a:pt x="245545" y="163611"/>
                    <a:pt x="239620" y="171631"/>
                    <a:pt x="226733" y="171631"/>
                  </a:cubicBezTo>
                  <a:lnTo>
                    <a:pt x="156391" y="171631"/>
                  </a:lnTo>
                  <a:close/>
                  <a:moveTo>
                    <a:pt x="291751" y="163611"/>
                  </a:moveTo>
                  <a:cubicBezTo>
                    <a:pt x="288036" y="170736"/>
                    <a:pt x="284197" y="172669"/>
                    <a:pt x="277825" y="172669"/>
                  </a:cubicBezTo>
                  <a:cubicBezTo>
                    <a:pt x="269091" y="172669"/>
                    <a:pt x="260937" y="168059"/>
                    <a:pt x="260937" y="159896"/>
                  </a:cubicBezTo>
                  <a:cubicBezTo>
                    <a:pt x="260937" y="157372"/>
                    <a:pt x="261680" y="155000"/>
                    <a:pt x="263166" y="152029"/>
                  </a:cubicBezTo>
                  <a:lnTo>
                    <a:pt x="330098" y="22422"/>
                  </a:lnTo>
                  <a:cubicBezTo>
                    <a:pt x="339871" y="3562"/>
                    <a:pt x="345205" y="152"/>
                    <a:pt x="356911" y="152"/>
                  </a:cubicBezTo>
                  <a:cubicBezTo>
                    <a:pt x="369646" y="152"/>
                    <a:pt x="373942" y="5344"/>
                    <a:pt x="377485" y="22422"/>
                  </a:cubicBezTo>
                  <a:lnTo>
                    <a:pt x="404155" y="153219"/>
                  </a:lnTo>
                  <a:cubicBezTo>
                    <a:pt x="404593" y="155886"/>
                    <a:pt x="404889" y="157667"/>
                    <a:pt x="404889" y="159601"/>
                  </a:cubicBezTo>
                  <a:cubicBezTo>
                    <a:pt x="404889" y="169107"/>
                    <a:pt x="394373" y="172517"/>
                    <a:pt x="385782" y="172517"/>
                  </a:cubicBezTo>
                  <a:cubicBezTo>
                    <a:pt x="380895" y="172517"/>
                    <a:pt x="376304" y="169993"/>
                    <a:pt x="374828" y="163163"/>
                  </a:cubicBezTo>
                  <a:lnTo>
                    <a:pt x="370237" y="140894"/>
                  </a:lnTo>
                  <a:cubicBezTo>
                    <a:pt x="369789" y="138665"/>
                    <a:pt x="369056" y="137484"/>
                    <a:pt x="367122" y="137484"/>
                  </a:cubicBezTo>
                  <a:lnTo>
                    <a:pt x="307753" y="137484"/>
                  </a:lnTo>
                  <a:cubicBezTo>
                    <a:pt x="305819" y="137484"/>
                    <a:pt x="304791" y="138665"/>
                    <a:pt x="303600" y="140894"/>
                  </a:cubicBezTo>
                  <a:lnTo>
                    <a:pt x="291903" y="163458"/>
                  </a:lnTo>
                  <a:lnTo>
                    <a:pt x="291751" y="163611"/>
                  </a:lnTo>
                  <a:close/>
                  <a:moveTo>
                    <a:pt x="360902" y="106747"/>
                  </a:moveTo>
                  <a:cubicBezTo>
                    <a:pt x="362388" y="106747"/>
                    <a:pt x="363426" y="106004"/>
                    <a:pt x="363426" y="104966"/>
                  </a:cubicBezTo>
                  <a:cubicBezTo>
                    <a:pt x="363426" y="104518"/>
                    <a:pt x="363426" y="103775"/>
                    <a:pt x="363131" y="101851"/>
                  </a:cubicBezTo>
                  <a:lnTo>
                    <a:pt x="354540" y="47654"/>
                  </a:lnTo>
                  <a:cubicBezTo>
                    <a:pt x="354092" y="44244"/>
                    <a:pt x="354092" y="39786"/>
                    <a:pt x="352320" y="39786"/>
                  </a:cubicBezTo>
                  <a:cubicBezTo>
                    <a:pt x="350539" y="39786"/>
                    <a:pt x="349653" y="44244"/>
                    <a:pt x="347872" y="47654"/>
                  </a:cubicBezTo>
                  <a:lnTo>
                    <a:pt x="321659" y="101851"/>
                  </a:lnTo>
                  <a:cubicBezTo>
                    <a:pt x="320621" y="103775"/>
                    <a:pt x="320478" y="104813"/>
                    <a:pt x="320478" y="105261"/>
                  </a:cubicBezTo>
                  <a:cubicBezTo>
                    <a:pt x="320478" y="106299"/>
                    <a:pt x="320916" y="106747"/>
                    <a:pt x="322402" y="106747"/>
                  </a:cubicBezTo>
                  <a:lnTo>
                    <a:pt x="360902" y="106747"/>
                  </a:lnTo>
                  <a:close/>
                  <a:moveTo>
                    <a:pt x="498186" y="30290"/>
                  </a:moveTo>
                  <a:cubicBezTo>
                    <a:pt x="488413" y="30290"/>
                    <a:pt x="472564" y="34147"/>
                    <a:pt x="472564" y="48101"/>
                  </a:cubicBezTo>
                  <a:cubicBezTo>
                    <a:pt x="472564" y="55226"/>
                    <a:pt x="479679" y="59836"/>
                    <a:pt x="490337" y="65027"/>
                  </a:cubicBezTo>
                  <a:lnTo>
                    <a:pt x="511073" y="75124"/>
                  </a:lnTo>
                  <a:cubicBezTo>
                    <a:pt x="533286" y="85963"/>
                    <a:pt x="545583" y="100508"/>
                    <a:pt x="545583" y="120853"/>
                  </a:cubicBezTo>
                  <a:cubicBezTo>
                    <a:pt x="545583" y="154705"/>
                    <a:pt x="515817" y="172517"/>
                    <a:pt x="482489" y="172517"/>
                  </a:cubicBezTo>
                  <a:cubicBezTo>
                    <a:pt x="458800" y="172517"/>
                    <a:pt x="437769" y="164649"/>
                    <a:pt x="423405" y="148314"/>
                  </a:cubicBezTo>
                  <a:cubicBezTo>
                    <a:pt x="421415" y="146123"/>
                    <a:pt x="420305" y="143266"/>
                    <a:pt x="420291" y="140303"/>
                  </a:cubicBezTo>
                  <a:cubicBezTo>
                    <a:pt x="420291" y="131693"/>
                    <a:pt x="429035" y="123082"/>
                    <a:pt x="438807" y="123082"/>
                  </a:cubicBezTo>
                  <a:cubicBezTo>
                    <a:pt x="442951" y="123082"/>
                    <a:pt x="446361" y="125749"/>
                    <a:pt x="449313" y="128426"/>
                  </a:cubicBezTo>
                  <a:cubicBezTo>
                    <a:pt x="457171" y="135846"/>
                    <a:pt x="466935" y="142380"/>
                    <a:pt x="485013" y="142380"/>
                  </a:cubicBezTo>
                  <a:cubicBezTo>
                    <a:pt x="495967" y="142380"/>
                    <a:pt x="511816" y="138227"/>
                    <a:pt x="511816" y="123520"/>
                  </a:cubicBezTo>
                  <a:cubicBezTo>
                    <a:pt x="511816" y="115510"/>
                    <a:pt x="506187" y="109271"/>
                    <a:pt x="495224" y="104223"/>
                  </a:cubicBezTo>
                  <a:lnTo>
                    <a:pt x="473897" y="94126"/>
                  </a:lnTo>
                  <a:cubicBezTo>
                    <a:pt x="451685" y="83591"/>
                    <a:pt x="438655" y="71561"/>
                    <a:pt x="438655" y="49292"/>
                  </a:cubicBezTo>
                  <a:cubicBezTo>
                    <a:pt x="438655" y="18412"/>
                    <a:pt x="466944" y="0"/>
                    <a:pt x="499967" y="0"/>
                  </a:cubicBezTo>
                  <a:cubicBezTo>
                    <a:pt x="517741" y="0"/>
                    <a:pt x="535657" y="3715"/>
                    <a:pt x="550316" y="16631"/>
                  </a:cubicBezTo>
                  <a:cubicBezTo>
                    <a:pt x="553279" y="19155"/>
                    <a:pt x="555650" y="22565"/>
                    <a:pt x="555650" y="27165"/>
                  </a:cubicBezTo>
                  <a:cubicBezTo>
                    <a:pt x="555650" y="35785"/>
                    <a:pt x="547059" y="44396"/>
                    <a:pt x="538467" y="44396"/>
                  </a:cubicBezTo>
                  <a:cubicBezTo>
                    <a:pt x="534324" y="44396"/>
                    <a:pt x="530466" y="42167"/>
                    <a:pt x="528257" y="40529"/>
                  </a:cubicBezTo>
                  <a:cubicBezTo>
                    <a:pt x="519513" y="33699"/>
                    <a:pt x="509740" y="30290"/>
                    <a:pt x="497891" y="30290"/>
                  </a:cubicBezTo>
                  <a:lnTo>
                    <a:pt x="498186" y="30290"/>
                  </a:lnTo>
                  <a:close/>
                  <a:moveTo>
                    <a:pt x="620668" y="32071"/>
                  </a:moveTo>
                  <a:cubicBezTo>
                    <a:pt x="618887" y="32071"/>
                    <a:pt x="618439" y="32518"/>
                    <a:pt x="618296" y="34300"/>
                  </a:cubicBezTo>
                  <a:lnTo>
                    <a:pt x="613115" y="66065"/>
                  </a:lnTo>
                  <a:cubicBezTo>
                    <a:pt x="612819" y="67847"/>
                    <a:pt x="613410" y="68294"/>
                    <a:pt x="615039" y="68294"/>
                  </a:cubicBezTo>
                  <a:lnTo>
                    <a:pt x="661387" y="68294"/>
                  </a:lnTo>
                  <a:cubicBezTo>
                    <a:pt x="671160" y="68294"/>
                    <a:pt x="674570" y="74676"/>
                    <a:pt x="674570" y="81810"/>
                  </a:cubicBezTo>
                  <a:cubicBezTo>
                    <a:pt x="674570" y="91164"/>
                    <a:pt x="668646" y="99174"/>
                    <a:pt x="655758" y="99174"/>
                  </a:cubicBezTo>
                  <a:lnTo>
                    <a:pt x="610153" y="99174"/>
                  </a:lnTo>
                  <a:cubicBezTo>
                    <a:pt x="608371" y="99174"/>
                    <a:pt x="607628" y="99622"/>
                    <a:pt x="607486" y="101403"/>
                  </a:cubicBezTo>
                  <a:lnTo>
                    <a:pt x="598446" y="159153"/>
                  </a:lnTo>
                  <a:cubicBezTo>
                    <a:pt x="596675" y="169993"/>
                    <a:pt x="589864" y="172669"/>
                    <a:pt x="580682" y="172669"/>
                  </a:cubicBezTo>
                  <a:cubicBezTo>
                    <a:pt x="573862" y="172669"/>
                    <a:pt x="566461" y="170145"/>
                    <a:pt x="566461" y="161677"/>
                  </a:cubicBezTo>
                  <a:cubicBezTo>
                    <a:pt x="566461" y="160201"/>
                    <a:pt x="566909" y="156486"/>
                    <a:pt x="567642" y="152629"/>
                  </a:cubicBezTo>
                  <a:lnTo>
                    <a:pt x="589417" y="15735"/>
                  </a:lnTo>
                  <a:cubicBezTo>
                    <a:pt x="590893" y="6382"/>
                    <a:pt x="595789" y="1333"/>
                    <a:pt x="605561" y="1333"/>
                  </a:cubicBezTo>
                  <a:lnTo>
                    <a:pt x="688343" y="1333"/>
                  </a:lnTo>
                  <a:cubicBezTo>
                    <a:pt x="698116" y="1333"/>
                    <a:pt x="701526" y="7725"/>
                    <a:pt x="701526" y="14850"/>
                  </a:cubicBezTo>
                  <a:cubicBezTo>
                    <a:pt x="701526" y="24203"/>
                    <a:pt x="695601" y="32223"/>
                    <a:pt x="682714" y="32223"/>
                  </a:cubicBezTo>
                  <a:lnTo>
                    <a:pt x="620668" y="32223"/>
                  </a:lnTo>
                  <a:lnTo>
                    <a:pt x="620668" y="32071"/>
                  </a:lnTo>
                  <a:close/>
                  <a:moveTo>
                    <a:pt x="703155" y="163611"/>
                  </a:moveTo>
                  <a:cubicBezTo>
                    <a:pt x="699449" y="170736"/>
                    <a:pt x="695601" y="172669"/>
                    <a:pt x="689229" y="172669"/>
                  </a:cubicBezTo>
                  <a:cubicBezTo>
                    <a:pt x="680495" y="172669"/>
                    <a:pt x="672351" y="168059"/>
                    <a:pt x="672351" y="159896"/>
                  </a:cubicBezTo>
                  <a:cubicBezTo>
                    <a:pt x="672351" y="157372"/>
                    <a:pt x="673094" y="155000"/>
                    <a:pt x="674570" y="152029"/>
                  </a:cubicBezTo>
                  <a:lnTo>
                    <a:pt x="741512" y="22422"/>
                  </a:lnTo>
                  <a:cubicBezTo>
                    <a:pt x="751284" y="3562"/>
                    <a:pt x="756618" y="152"/>
                    <a:pt x="768315" y="152"/>
                  </a:cubicBezTo>
                  <a:cubicBezTo>
                    <a:pt x="781050" y="152"/>
                    <a:pt x="785346" y="5344"/>
                    <a:pt x="788756" y="22422"/>
                  </a:cubicBezTo>
                  <a:lnTo>
                    <a:pt x="815407" y="153219"/>
                  </a:lnTo>
                  <a:cubicBezTo>
                    <a:pt x="815854" y="155886"/>
                    <a:pt x="816150" y="157667"/>
                    <a:pt x="816150" y="159601"/>
                  </a:cubicBezTo>
                  <a:cubicBezTo>
                    <a:pt x="816150" y="169107"/>
                    <a:pt x="805634" y="172517"/>
                    <a:pt x="797043" y="172517"/>
                  </a:cubicBezTo>
                  <a:cubicBezTo>
                    <a:pt x="792156" y="172517"/>
                    <a:pt x="787565" y="169993"/>
                    <a:pt x="786089" y="163163"/>
                  </a:cubicBezTo>
                  <a:lnTo>
                    <a:pt x="781498" y="140894"/>
                  </a:lnTo>
                  <a:cubicBezTo>
                    <a:pt x="781050" y="138665"/>
                    <a:pt x="780307" y="137484"/>
                    <a:pt x="778383" y="137484"/>
                  </a:cubicBezTo>
                  <a:lnTo>
                    <a:pt x="718995" y="137484"/>
                  </a:lnTo>
                  <a:cubicBezTo>
                    <a:pt x="717071" y="137484"/>
                    <a:pt x="716042" y="138665"/>
                    <a:pt x="714851" y="140894"/>
                  </a:cubicBezTo>
                  <a:lnTo>
                    <a:pt x="703155" y="163458"/>
                  </a:lnTo>
                  <a:lnTo>
                    <a:pt x="703155" y="163611"/>
                  </a:lnTo>
                  <a:close/>
                  <a:moveTo>
                    <a:pt x="772316" y="106747"/>
                  </a:moveTo>
                  <a:cubicBezTo>
                    <a:pt x="773792" y="106747"/>
                    <a:pt x="774830" y="106004"/>
                    <a:pt x="774830" y="104966"/>
                  </a:cubicBezTo>
                  <a:cubicBezTo>
                    <a:pt x="774830" y="104518"/>
                    <a:pt x="774830" y="103775"/>
                    <a:pt x="774535" y="101851"/>
                  </a:cubicBezTo>
                  <a:lnTo>
                    <a:pt x="765943" y="47654"/>
                  </a:lnTo>
                  <a:cubicBezTo>
                    <a:pt x="765505" y="44244"/>
                    <a:pt x="765505" y="39786"/>
                    <a:pt x="763724" y="39786"/>
                  </a:cubicBezTo>
                  <a:cubicBezTo>
                    <a:pt x="761943" y="39786"/>
                    <a:pt x="761057" y="44244"/>
                    <a:pt x="759285" y="47654"/>
                  </a:cubicBezTo>
                  <a:lnTo>
                    <a:pt x="733215" y="101851"/>
                  </a:lnTo>
                  <a:cubicBezTo>
                    <a:pt x="732177" y="103775"/>
                    <a:pt x="732034" y="104813"/>
                    <a:pt x="732034" y="105261"/>
                  </a:cubicBezTo>
                  <a:cubicBezTo>
                    <a:pt x="732034" y="106299"/>
                    <a:pt x="732473" y="106747"/>
                    <a:pt x="733958" y="106747"/>
                  </a:cubicBezTo>
                  <a:lnTo>
                    <a:pt x="772316" y="106747"/>
                  </a:lnTo>
                  <a:close/>
                  <a:moveTo>
                    <a:pt x="909742" y="30290"/>
                  </a:moveTo>
                  <a:cubicBezTo>
                    <a:pt x="899970" y="30290"/>
                    <a:pt x="884120" y="34147"/>
                    <a:pt x="884120" y="48101"/>
                  </a:cubicBezTo>
                  <a:cubicBezTo>
                    <a:pt x="884120" y="55226"/>
                    <a:pt x="891235" y="59836"/>
                    <a:pt x="901894" y="65027"/>
                  </a:cubicBezTo>
                  <a:lnTo>
                    <a:pt x="922630" y="75124"/>
                  </a:lnTo>
                  <a:cubicBezTo>
                    <a:pt x="944842" y="85963"/>
                    <a:pt x="957139" y="100508"/>
                    <a:pt x="957139" y="120853"/>
                  </a:cubicBezTo>
                  <a:cubicBezTo>
                    <a:pt x="957139" y="154705"/>
                    <a:pt x="927364" y="172517"/>
                    <a:pt x="894045" y="172517"/>
                  </a:cubicBezTo>
                  <a:cubicBezTo>
                    <a:pt x="870347" y="172517"/>
                    <a:pt x="849325" y="164649"/>
                    <a:pt x="834962" y="148314"/>
                  </a:cubicBezTo>
                  <a:cubicBezTo>
                    <a:pt x="832971" y="146123"/>
                    <a:pt x="831856" y="143266"/>
                    <a:pt x="831847" y="140303"/>
                  </a:cubicBezTo>
                  <a:cubicBezTo>
                    <a:pt x="831847" y="131693"/>
                    <a:pt x="840581" y="123082"/>
                    <a:pt x="850363" y="123082"/>
                  </a:cubicBezTo>
                  <a:cubicBezTo>
                    <a:pt x="854507" y="123082"/>
                    <a:pt x="857907" y="125749"/>
                    <a:pt x="860870" y="128426"/>
                  </a:cubicBezTo>
                  <a:cubicBezTo>
                    <a:pt x="868718" y="135846"/>
                    <a:pt x="878500" y="142380"/>
                    <a:pt x="896560" y="142380"/>
                  </a:cubicBezTo>
                  <a:cubicBezTo>
                    <a:pt x="907523" y="142380"/>
                    <a:pt x="923373" y="138227"/>
                    <a:pt x="923373" y="123520"/>
                  </a:cubicBezTo>
                  <a:cubicBezTo>
                    <a:pt x="923373" y="115510"/>
                    <a:pt x="917743" y="109271"/>
                    <a:pt x="906780" y="104223"/>
                  </a:cubicBezTo>
                  <a:lnTo>
                    <a:pt x="885606" y="94126"/>
                  </a:lnTo>
                  <a:cubicBezTo>
                    <a:pt x="863394" y="83591"/>
                    <a:pt x="850363" y="71561"/>
                    <a:pt x="850363" y="49292"/>
                  </a:cubicBezTo>
                  <a:cubicBezTo>
                    <a:pt x="850363" y="18412"/>
                    <a:pt x="878643" y="0"/>
                    <a:pt x="911666" y="0"/>
                  </a:cubicBezTo>
                  <a:cubicBezTo>
                    <a:pt x="929592" y="0"/>
                    <a:pt x="947356" y="3715"/>
                    <a:pt x="962025" y="16631"/>
                  </a:cubicBezTo>
                  <a:cubicBezTo>
                    <a:pt x="964987" y="19155"/>
                    <a:pt x="967349" y="22565"/>
                    <a:pt x="967349" y="27165"/>
                  </a:cubicBezTo>
                  <a:cubicBezTo>
                    <a:pt x="967349" y="35785"/>
                    <a:pt x="958768" y="44396"/>
                    <a:pt x="950319" y="44396"/>
                  </a:cubicBezTo>
                  <a:cubicBezTo>
                    <a:pt x="946175" y="44396"/>
                    <a:pt x="942327" y="42167"/>
                    <a:pt x="940108" y="40529"/>
                  </a:cubicBezTo>
                  <a:cubicBezTo>
                    <a:pt x="931364" y="33699"/>
                    <a:pt x="921591" y="30290"/>
                    <a:pt x="909895" y="30290"/>
                  </a:cubicBezTo>
                  <a:lnTo>
                    <a:pt x="909742" y="30290"/>
                  </a:lnTo>
                  <a:close/>
                  <a:moveTo>
                    <a:pt x="1097232" y="1191"/>
                  </a:moveTo>
                  <a:cubicBezTo>
                    <a:pt x="1107005" y="1191"/>
                    <a:pt x="1110415" y="7572"/>
                    <a:pt x="1110415" y="14697"/>
                  </a:cubicBezTo>
                  <a:cubicBezTo>
                    <a:pt x="1110415" y="24051"/>
                    <a:pt x="1104491" y="32071"/>
                    <a:pt x="1091603" y="32071"/>
                  </a:cubicBezTo>
                  <a:lnTo>
                    <a:pt x="1031919" y="32071"/>
                  </a:lnTo>
                  <a:cubicBezTo>
                    <a:pt x="1030148" y="32071"/>
                    <a:pt x="1029557" y="32518"/>
                    <a:pt x="1029262" y="34300"/>
                  </a:cubicBezTo>
                  <a:lnTo>
                    <a:pt x="1024366" y="66065"/>
                  </a:lnTo>
                  <a:cubicBezTo>
                    <a:pt x="1024071" y="67847"/>
                    <a:pt x="1024366" y="68294"/>
                    <a:pt x="1026147" y="68294"/>
                  </a:cubicBezTo>
                  <a:lnTo>
                    <a:pt x="1077239" y="68294"/>
                  </a:lnTo>
                  <a:cubicBezTo>
                    <a:pt x="1087012" y="68294"/>
                    <a:pt x="1090422" y="74676"/>
                    <a:pt x="1090422" y="81801"/>
                  </a:cubicBezTo>
                  <a:cubicBezTo>
                    <a:pt x="1090422" y="91154"/>
                    <a:pt x="1084498" y="99174"/>
                    <a:pt x="1071610" y="99174"/>
                  </a:cubicBezTo>
                  <a:lnTo>
                    <a:pt x="1021261" y="99174"/>
                  </a:lnTo>
                  <a:cubicBezTo>
                    <a:pt x="1019480" y="99174"/>
                    <a:pt x="1019042" y="99622"/>
                    <a:pt x="1018746" y="101403"/>
                  </a:cubicBezTo>
                  <a:lnTo>
                    <a:pt x="1012822" y="138665"/>
                  </a:lnTo>
                  <a:cubicBezTo>
                    <a:pt x="1012527" y="140446"/>
                    <a:pt x="1012822" y="140894"/>
                    <a:pt x="1014594" y="140894"/>
                  </a:cubicBezTo>
                  <a:lnTo>
                    <a:pt x="1077392" y="140894"/>
                  </a:lnTo>
                  <a:cubicBezTo>
                    <a:pt x="1087165" y="140894"/>
                    <a:pt x="1090565" y="147276"/>
                    <a:pt x="1090565" y="154400"/>
                  </a:cubicBezTo>
                  <a:cubicBezTo>
                    <a:pt x="1090565" y="163754"/>
                    <a:pt x="1084650" y="171774"/>
                    <a:pt x="1071763" y="171774"/>
                  </a:cubicBezTo>
                  <a:lnTo>
                    <a:pt x="990162" y="171774"/>
                  </a:lnTo>
                  <a:cubicBezTo>
                    <a:pt x="980827" y="171774"/>
                    <a:pt x="976684" y="166583"/>
                    <a:pt x="978170" y="157372"/>
                  </a:cubicBezTo>
                  <a:lnTo>
                    <a:pt x="1000382" y="15888"/>
                  </a:lnTo>
                  <a:cubicBezTo>
                    <a:pt x="1001859" y="6534"/>
                    <a:pt x="1007040" y="1486"/>
                    <a:pt x="1016822" y="1486"/>
                  </a:cubicBezTo>
                  <a:lnTo>
                    <a:pt x="1097232" y="1486"/>
                  </a:lnTo>
                  <a:lnTo>
                    <a:pt x="1097232" y="1191"/>
                  </a:lnTo>
                  <a:close/>
                  <a:moveTo>
                    <a:pt x="1190682" y="108233"/>
                  </a:moveTo>
                  <a:cubicBezTo>
                    <a:pt x="1189644" y="106004"/>
                    <a:pt x="1189196" y="106004"/>
                    <a:pt x="1187272" y="106004"/>
                  </a:cubicBezTo>
                  <a:lnTo>
                    <a:pt x="1160469" y="106004"/>
                  </a:lnTo>
                  <a:cubicBezTo>
                    <a:pt x="1158688" y="106004"/>
                    <a:pt x="1157954" y="106451"/>
                    <a:pt x="1157802" y="108233"/>
                  </a:cubicBezTo>
                  <a:lnTo>
                    <a:pt x="1149810" y="159153"/>
                  </a:lnTo>
                  <a:cubicBezTo>
                    <a:pt x="1148029" y="169993"/>
                    <a:pt x="1141219" y="172669"/>
                    <a:pt x="1132037" y="172669"/>
                  </a:cubicBezTo>
                  <a:cubicBezTo>
                    <a:pt x="1125226" y="172669"/>
                    <a:pt x="1117816" y="170145"/>
                    <a:pt x="1117816" y="161677"/>
                  </a:cubicBezTo>
                  <a:cubicBezTo>
                    <a:pt x="1117816" y="160201"/>
                    <a:pt x="1118264" y="156486"/>
                    <a:pt x="1119007" y="152629"/>
                  </a:cubicBezTo>
                  <a:lnTo>
                    <a:pt x="1140771" y="15735"/>
                  </a:lnTo>
                  <a:cubicBezTo>
                    <a:pt x="1142257" y="6382"/>
                    <a:pt x="1147439" y="1333"/>
                    <a:pt x="1157211" y="1333"/>
                  </a:cubicBezTo>
                  <a:lnTo>
                    <a:pt x="1215857" y="1333"/>
                  </a:lnTo>
                  <a:cubicBezTo>
                    <a:pt x="1242222" y="1333"/>
                    <a:pt x="1260139" y="16335"/>
                    <a:pt x="1260139" y="43501"/>
                  </a:cubicBezTo>
                  <a:cubicBezTo>
                    <a:pt x="1260139" y="67999"/>
                    <a:pt x="1249175" y="92945"/>
                    <a:pt x="1224296" y="103184"/>
                  </a:cubicBezTo>
                  <a:cubicBezTo>
                    <a:pt x="1223115" y="103632"/>
                    <a:pt x="1222524" y="104223"/>
                    <a:pt x="1222524" y="104966"/>
                  </a:cubicBezTo>
                  <a:cubicBezTo>
                    <a:pt x="1222524" y="105413"/>
                    <a:pt x="1222820" y="106004"/>
                    <a:pt x="1222820" y="106004"/>
                  </a:cubicBezTo>
                  <a:lnTo>
                    <a:pt x="1242365" y="150847"/>
                  </a:lnTo>
                  <a:cubicBezTo>
                    <a:pt x="1243108" y="152771"/>
                    <a:pt x="1244879" y="155743"/>
                    <a:pt x="1244879" y="159458"/>
                  </a:cubicBezTo>
                  <a:cubicBezTo>
                    <a:pt x="1244879" y="168069"/>
                    <a:pt x="1233630" y="172964"/>
                    <a:pt x="1225782" y="172964"/>
                  </a:cubicBezTo>
                  <a:cubicBezTo>
                    <a:pt x="1220448" y="172964"/>
                    <a:pt x="1216743" y="170288"/>
                    <a:pt x="1214228" y="164354"/>
                  </a:cubicBezTo>
                  <a:lnTo>
                    <a:pt x="1190978" y="108528"/>
                  </a:lnTo>
                  <a:lnTo>
                    <a:pt x="1190682" y="108233"/>
                  </a:lnTo>
                  <a:close/>
                  <a:moveTo>
                    <a:pt x="1205046" y="75419"/>
                  </a:moveTo>
                  <a:cubicBezTo>
                    <a:pt x="1220448" y="75419"/>
                    <a:pt x="1226372" y="61017"/>
                    <a:pt x="1226372" y="49139"/>
                  </a:cubicBezTo>
                  <a:cubicBezTo>
                    <a:pt x="1226372" y="38310"/>
                    <a:pt x="1219562" y="31775"/>
                    <a:pt x="1209789" y="31775"/>
                  </a:cubicBezTo>
                  <a:lnTo>
                    <a:pt x="1172166" y="31775"/>
                  </a:lnTo>
                  <a:cubicBezTo>
                    <a:pt x="1170394" y="31775"/>
                    <a:pt x="1169651" y="32223"/>
                    <a:pt x="1169499" y="34004"/>
                  </a:cubicBezTo>
                  <a:lnTo>
                    <a:pt x="1163431" y="73200"/>
                  </a:lnTo>
                  <a:cubicBezTo>
                    <a:pt x="1163136" y="74981"/>
                    <a:pt x="1163726" y="75419"/>
                    <a:pt x="1165355" y="75419"/>
                  </a:cubicBezTo>
                  <a:lnTo>
                    <a:pt x="1205198" y="75419"/>
                  </a:lnTo>
                  <a:lnTo>
                    <a:pt x="1205046" y="75419"/>
                  </a:lnTo>
                  <a:close/>
                </a:path>
              </a:pathLst>
            </a:custGeom>
            <a:solidFill>
              <a:srgbClr val="00ADEE"/>
            </a:solidFill>
            <a:ln w="9525" cap="flat">
              <a:noFill/>
              <a:prstDash val="solid"/>
              <a:miter/>
            </a:ln>
          </p:spPr>
          <p:txBody>
            <a:bodyPr rtlCol="0" anchor="ctr"/>
            <a:lstStyle/>
            <a:p>
              <a:endParaRPr lang="en-GB" sz="1800"/>
            </a:p>
          </p:txBody>
        </p:sp>
        <p:sp>
          <p:nvSpPr>
            <p:cNvPr id="50" name="Freeform: Shape 55">
              <a:extLst>
                <a:ext uri="{FF2B5EF4-FFF2-40B4-BE49-F238E27FC236}">
                  <a16:creationId xmlns:a16="http://schemas.microsoft.com/office/drawing/2014/main" id="{525DDD2C-80A5-7731-C2D7-11AED693B7AE}"/>
                </a:ext>
              </a:extLst>
            </p:cNvPr>
            <p:cNvSpPr/>
            <p:nvPr/>
          </p:nvSpPr>
          <p:spPr>
            <a:xfrm>
              <a:off x="4069517" y="3293373"/>
              <a:ext cx="1273016" cy="164201"/>
            </a:xfrm>
            <a:custGeom>
              <a:avLst/>
              <a:gdLst>
                <a:gd name="connsiteX0" fmla="*/ 76714 w 1273016"/>
                <a:gd name="connsiteY0" fmla="*/ 0 h 164201"/>
                <a:gd name="connsiteX1" fmla="*/ 127654 w 1273016"/>
                <a:gd name="connsiteY1" fmla="*/ 48254 h 164201"/>
                <a:gd name="connsiteX2" fmla="*/ 124701 w 1273016"/>
                <a:gd name="connsiteY2" fmla="*/ 82096 h 164201"/>
                <a:gd name="connsiteX3" fmla="*/ 50940 w 1273016"/>
                <a:gd name="connsiteY3" fmla="*/ 164201 h 164201"/>
                <a:gd name="connsiteX4" fmla="*/ 0 w 1273016"/>
                <a:gd name="connsiteY4" fmla="*/ 116396 h 164201"/>
                <a:gd name="connsiteX5" fmla="*/ 3258 w 1273016"/>
                <a:gd name="connsiteY5" fmla="*/ 82096 h 164201"/>
                <a:gd name="connsiteX6" fmla="*/ 76714 w 1273016"/>
                <a:gd name="connsiteY6" fmla="*/ 0 h 164201"/>
                <a:gd name="connsiteX7" fmla="*/ 96403 w 1273016"/>
                <a:gd name="connsiteY7" fmla="*/ 52702 h 164201"/>
                <a:gd name="connsiteX8" fmla="*/ 72266 w 1273016"/>
                <a:gd name="connsiteY8" fmla="*/ 28946 h 164201"/>
                <a:gd name="connsiteX9" fmla="*/ 34642 w 1273016"/>
                <a:gd name="connsiteY9" fmla="*/ 82096 h 164201"/>
                <a:gd name="connsiteX10" fmla="*/ 31099 w 1273016"/>
                <a:gd name="connsiteY10" fmla="*/ 111642 h 164201"/>
                <a:gd name="connsiteX11" fmla="*/ 55531 w 1273016"/>
                <a:gd name="connsiteY11" fmla="*/ 135255 h 164201"/>
                <a:gd name="connsiteX12" fmla="*/ 93155 w 1273016"/>
                <a:gd name="connsiteY12" fmla="*/ 82096 h 164201"/>
                <a:gd name="connsiteX13" fmla="*/ 96403 w 1273016"/>
                <a:gd name="connsiteY13" fmla="*/ 52702 h 164201"/>
                <a:gd name="connsiteX14" fmla="*/ 209398 w 1273016"/>
                <a:gd name="connsiteY14" fmla="*/ 28651 h 164201"/>
                <a:gd name="connsiteX15" fmla="*/ 184966 w 1273016"/>
                <a:gd name="connsiteY15" fmla="*/ 45729 h 164201"/>
                <a:gd name="connsiteX16" fmla="*/ 201997 w 1273016"/>
                <a:gd name="connsiteY16" fmla="*/ 61760 h 164201"/>
                <a:gd name="connsiteX17" fmla="*/ 221694 w 1273016"/>
                <a:gd name="connsiteY17" fmla="*/ 71266 h 164201"/>
                <a:gd name="connsiteX18" fmla="*/ 254422 w 1273016"/>
                <a:gd name="connsiteY18" fmla="*/ 114910 h 164201"/>
                <a:gd name="connsiteX19" fmla="*/ 194443 w 1273016"/>
                <a:gd name="connsiteY19" fmla="*/ 164049 h 164201"/>
                <a:gd name="connsiteX20" fmla="*/ 138170 w 1273016"/>
                <a:gd name="connsiteY20" fmla="*/ 141037 h 164201"/>
                <a:gd name="connsiteX21" fmla="*/ 135207 w 1273016"/>
                <a:gd name="connsiteY21" fmla="*/ 133321 h 164201"/>
                <a:gd name="connsiteX22" fmla="*/ 152829 w 1273016"/>
                <a:gd name="connsiteY22" fmla="*/ 116986 h 164201"/>
                <a:gd name="connsiteX23" fmla="*/ 162906 w 1273016"/>
                <a:gd name="connsiteY23" fmla="*/ 122187 h 164201"/>
                <a:gd name="connsiteX24" fmla="*/ 196815 w 1273016"/>
                <a:gd name="connsiteY24" fmla="*/ 135398 h 164201"/>
                <a:gd name="connsiteX25" fmla="*/ 222437 w 1273016"/>
                <a:gd name="connsiteY25" fmla="*/ 117434 h 164201"/>
                <a:gd name="connsiteX26" fmla="*/ 206588 w 1273016"/>
                <a:gd name="connsiteY26" fmla="*/ 99022 h 164201"/>
                <a:gd name="connsiteX27" fmla="*/ 186300 w 1273016"/>
                <a:gd name="connsiteY27" fmla="*/ 89525 h 164201"/>
                <a:gd name="connsiteX28" fmla="*/ 152829 w 1273016"/>
                <a:gd name="connsiteY28" fmla="*/ 46911 h 164201"/>
                <a:gd name="connsiteX29" fmla="*/ 211179 w 1273016"/>
                <a:gd name="connsiteY29" fmla="*/ 0 h 164201"/>
                <a:gd name="connsiteX30" fmla="*/ 259013 w 1273016"/>
                <a:gd name="connsiteY30" fmla="*/ 15888 h 164201"/>
                <a:gd name="connsiteX31" fmla="*/ 264195 w 1273016"/>
                <a:gd name="connsiteY31" fmla="*/ 25975 h 164201"/>
                <a:gd name="connsiteX32" fmla="*/ 247907 w 1273016"/>
                <a:gd name="connsiteY32" fmla="*/ 42310 h 164201"/>
                <a:gd name="connsiteX33" fmla="*/ 238135 w 1273016"/>
                <a:gd name="connsiteY33" fmla="*/ 38595 h 164201"/>
                <a:gd name="connsiteX34" fmla="*/ 209255 w 1273016"/>
                <a:gd name="connsiteY34" fmla="*/ 28804 h 164201"/>
                <a:gd name="connsiteX35" fmla="*/ 209398 w 1273016"/>
                <a:gd name="connsiteY35" fmla="*/ 28651 h 164201"/>
                <a:gd name="connsiteX36" fmla="*/ 291741 w 1273016"/>
                <a:gd name="connsiteY36" fmla="*/ 30289 h 164201"/>
                <a:gd name="connsiteX37" fmla="*/ 279454 w 1273016"/>
                <a:gd name="connsiteY37" fmla="*/ 17517 h 164201"/>
                <a:gd name="connsiteX38" fmla="*/ 295894 w 1273016"/>
                <a:gd name="connsiteY38" fmla="*/ 886 h 164201"/>
                <a:gd name="connsiteX39" fmla="*/ 385934 w 1273016"/>
                <a:gd name="connsiteY39" fmla="*/ 886 h 164201"/>
                <a:gd name="connsiteX40" fmla="*/ 398516 w 1273016"/>
                <a:gd name="connsiteY40" fmla="*/ 13659 h 164201"/>
                <a:gd name="connsiteX41" fmla="*/ 380600 w 1273016"/>
                <a:gd name="connsiteY41" fmla="*/ 30137 h 164201"/>
                <a:gd name="connsiteX42" fmla="*/ 353797 w 1273016"/>
                <a:gd name="connsiteY42" fmla="*/ 30137 h 164201"/>
                <a:gd name="connsiteX43" fmla="*/ 351425 w 1273016"/>
                <a:gd name="connsiteY43" fmla="*/ 32214 h 164201"/>
                <a:gd name="connsiteX44" fmla="*/ 332613 w 1273016"/>
                <a:gd name="connsiteY44" fmla="*/ 151133 h 164201"/>
                <a:gd name="connsiteX45" fmla="*/ 315582 w 1273016"/>
                <a:gd name="connsiteY45" fmla="*/ 163906 h 164201"/>
                <a:gd name="connsiteX46" fmla="*/ 302114 w 1273016"/>
                <a:gd name="connsiteY46" fmla="*/ 153362 h 164201"/>
                <a:gd name="connsiteX47" fmla="*/ 303295 w 1273016"/>
                <a:gd name="connsiteY47" fmla="*/ 144751 h 164201"/>
                <a:gd name="connsiteX48" fmla="*/ 321212 w 1273016"/>
                <a:gd name="connsiteY48" fmla="*/ 32214 h 164201"/>
                <a:gd name="connsiteX49" fmla="*/ 319288 w 1273016"/>
                <a:gd name="connsiteY49" fmla="*/ 30137 h 164201"/>
                <a:gd name="connsiteX50" fmla="*/ 291598 w 1273016"/>
                <a:gd name="connsiteY50" fmla="*/ 30137 h 164201"/>
                <a:gd name="connsiteX51" fmla="*/ 291741 w 1273016"/>
                <a:gd name="connsiteY51" fmla="*/ 30289 h 164201"/>
                <a:gd name="connsiteX52" fmla="*/ 421472 w 1273016"/>
                <a:gd name="connsiteY52" fmla="*/ 14697 h 164201"/>
                <a:gd name="connsiteX53" fmla="*/ 437026 w 1273016"/>
                <a:gd name="connsiteY53" fmla="*/ 886 h 164201"/>
                <a:gd name="connsiteX54" fmla="*/ 488861 w 1273016"/>
                <a:gd name="connsiteY54" fmla="*/ 886 h 164201"/>
                <a:gd name="connsiteX55" fmla="*/ 533286 w 1273016"/>
                <a:gd name="connsiteY55" fmla="*/ 39786 h 164201"/>
                <a:gd name="connsiteX56" fmla="*/ 515807 w 1273016"/>
                <a:gd name="connsiteY56" fmla="*/ 77353 h 164201"/>
                <a:gd name="connsiteX57" fmla="*/ 513436 w 1273016"/>
                <a:gd name="connsiteY57" fmla="*/ 80172 h 164201"/>
                <a:gd name="connsiteX58" fmla="*/ 515064 w 1273016"/>
                <a:gd name="connsiteY58" fmla="*/ 82696 h 164201"/>
                <a:gd name="connsiteX59" fmla="*/ 526180 w 1273016"/>
                <a:gd name="connsiteY59" fmla="*/ 110014 h 164201"/>
                <a:gd name="connsiteX60" fmla="*/ 467982 w 1273016"/>
                <a:gd name="connsiteY60" fmla="*/ 163163 h 164201"/>
                <a:gd name="connsiteX61" fmla="*/ 411699 w 1273016"/>
                <a:gd name="connsiteY61" fmla="*/ 163163 h 164201"/>
                <a:gd name="connsiteX62" fmla="*/ 400002 w 1273016"/>
                <a:gd name="connsiteY62" fmla="*/ 149352 h 164201"/>
                <a:gd name="connsiteX63" fmla="*/ 421176 w 1273016"/>
                <a:gd name="connsiteY63" fmla="*/ 14545 h 164201"/>
                <a:gd name="connsiteX64" fmla="*/ 421472 w 1273016"/>
                <a:gd name="connsiteY64" fmla="*/ 14697 h 164201"/>
                <a:gd name="connsiteX65" fmla="*/ 441017 w 1273016"/>
                <a:gd name="connsiteY65" fmla="*/ 96355 h 164201"/>
                <a:gd name="connsiteX66" fmla="*/ 438502 w 1273016"/>
                <a:gd name="connsiteY66" fmla="*/ 98431 h 164201"/>
                <a:gd name="connsiteX67" fmla="*/ 433321 w 1273016"/>
                <a:gd name="connsiteY67" fmla="*/ 131836 h 164201"/>
                <a:gd name="connsiteX68" fmla="*/ 434950 w 1273016"/>
                <a:gd name="connsiteY68" fmla="*/ 133912 h 164201"/>
                <a:gd name="connsiteX69" fmla="*/ 473307 w 1273016"/>
                <a:gd name="connsiteY69" fmla="*/ 133912 h 164201"/>
                <a:gd name="connsiteX70" fmla="*/ 494481 w 1273016"/>
                <a:gd name="connsiteY70" fmla="*/ 112681 h 164201"/>
                <a:gd name="connsiteX71" fmla="*/ 478641 w 1273016"/>
                <a:gd name="connsiteY71" fmla="*/ 96355 h 164201"/>
                <a:gd name="connsiteX72" fmla="*/ 441017 w 1273016"/>
                <a:gd name="connsiteY72" fmla="*/ 96355 h 164201"/>
                <a:gd name="connsiteX73" fmla="*/ 480565 w 1273016"/>
                <a:gd name="connsiteY73" fmla="*/ 66951 h 164201"/>
                <a:gd name="connsiteX74" fmla="*/ 501301 w 1273016"/>
                <a:gd name="connsiteY74" fmla="*/ 44987 h 164201"/>
                <a:gd name="connsiteX75" fmla="*/ 485746 w 1273016"/>
                <a:gd name="connsiteY75" fmla="*/ 30289 h 164201"/>
                <a:gd name="connsiteX76" fmla="*/ 451533 w 1273016"/>
                <a:gd name="connsiteY76" fmla="*/ 30289 h 164201"/>
                <a:gd name="connsiteX77" fmla="*/ 449018 w 1273016"/>
                <a:gd name="connsiteY77" fmla="*/ 32366 h 164201"/>
                <a:gd name="connsiteX78" fmla="*/ 443836 w 1273016"/>
                <a:gd name="connsiteY78" fmla="*/ 64732 h 164201"/>
                <a:gd name="connsiteX79" fmla="*/ 445760 w 1273016"/>
                <a:gd name="connsiteY79" fmla="*/ 66808 h 164201"/>
                <a:gd name="connsiteX80" fmla="*/ 480565 w 1273016"/>
                <a:gd name="connsiteY80" fmla="*/ 66808 h 164201"/>
                <a:gd name="connsiteX81" fmla="*/ 480565 w 1273016"/>
                <a:gd name="connsiteY81" fmla="*/ 66951 h 164201"/>
                <a:gd name="connsiteX82" fmla="*/ 660797 w 1273016"/>
                <a:gd name="connsiteY82" fmla="*/ 886 h 164201"/>
                <a:gd name="connsiteX83" fmla="*/ 673379 w 1273016"/>
                <a:gd name="connsiteY83" fmla="*/ 13659 h 164201"/>
                <a:gd name="connsiteX84" fmla="*/ 655463 w 1273016"/>
                <a:gd name="connsiteY84" fmla="*/ 30137 h 164201"/>
                <a:gd name="connsiteX85" fmla="*/ 598742 w 1273016"/>
                <a:gd name="connsiteY85" fmla="*/ 30137 h 164201"/>
                <a:gd name="connsiteX86" fmla="*/ 596227 w 1273016"/>
                <a:gd name="connsiteY86" fmla="*/ 32214 h 164201"/>
                <a:gd name="connsiteX87" fmla="*/ 591636 w 1273016"/>
                <a:gd name="connsiteY87" fmla="*/ 62503 h 164201"/>
                <a:gd name="connsiteX88" fmla="*/ 593265 w 1273016"/>
                <a:gd name="connsiteY88" fmla="*/ 64579 h 164201"/>
                <a:gd name="connsiteX89" fmla="*/ 641842 w 1273016"/>
                <a:gd name="connsiteY89" fmla="*/ 64579 h 164201"/>
                <a:gd name="connsiteX90" fmla="*/ 654425 w 1273016"/>
                <a:gd name="connsiteY90" fmla="*/ 77353 h 164201"/>
                <a:gd name="connsiteX91" fmla="*/ 636508 w 1273016"/>
                <a:gd name="connsiteY91" fmla="*/ 93974 h 164201"/>
                <a:gd name="connsiteX92" fmla="*/ 588674 w 1273016"/>
                <a:gd name="connsiteY92" fmla="*/ 93974 h 164201"/>
                <a:gd name="connsiteX93" fmla="*/ 586302 w 1273016"/>
                <a:gd name="connsiteY93" fmla="*/ 96060 h 164201"/>
                <a:gd name="connsiteX94" fmla="*/ 580682 w 1273016"/>
                <a:gd name="connsiteY94" fmla="*/ 131540 h 164201"/>
                <a:gd name="connsiteX95" fmla="*/ 582301 w 1273016"/>
                <a:gd name="connsiteY95" fmla="*/ 133617 h 164201"/>
                <a:gd name="connsiteX96" fmla="*/ 642137 w 1273016"/>
                <a:gd name="connsiteY96" fmla="*/ 133617 h 164201"/>
                <a:gd name="connsiteX97" fmla="*/ 654720 w 1273016"/>
                <a:gd name="connsiteY97" fmla="*/ 146390 h 164201"/>
                <a:gd name="connsiteX98" fmla="*/ 636803 w 1273016"/>
                <a:gd name="connsiteY98" fmla="*/ 163011 h 164201"/>
                <a:gd name="connsiteX99" fmla="*/ 559203 w 1273016"/>
                <a:gd name="connsiteY99" fmla="*/ 163011 h 164201"/>
                <a:gd name="connsiteX100" fmla="*/ 547802 w 1273016"/>
                <a:gd name="connsiteY100" fmla="*/ 149209 h 164201"/>
                <a:gd name="connsiteX101" fmla="*/ 568976 w 1273016"/>
                <a:gd name="connsiteY101" fmla="*/ 14402 h 164201"/>
                <a:gd name="connsiteX102" fmla="*/ 584530 w 1273016"/>
                <a:gd name="connsiteY102" fmla="*/ 591 h 164201"/>
                <a:gd name="connsiteX103" fmla="*/ 661092 w 1273016"/>
                <a:gd name="connsiteY103" fmla="*/ 591 h 164201"/>
                <a:gd name="connsiteX104" fmla="*/ 660797 w 1273016"/>
                <a:gd name="connsiteY104" fmla="*/ 886 h 164201"/>
                <a:gd name="connsiteX105" fmla="*/ 691601 w 1273016"/>
                <a:gd name="connsiteY105" fmla="*/ 163163 h 164201"/>
                <a:gd name="connsiteX106" fmla="*/ 680495 w 1273016"/>
                <a:gd name="connsiteY106" fmla="*/ 149352 h 164201"/>
                <a:gd name="connsiteX107" fmla="*/ 702116 w 1273016"/>
                <a:gd name="connsiteY107" fmla="*/ 12763 h 164201"/>
                <a:gd name="connsiteX108" fmla="*/ 719147 w 1273016"/>
                <a:gd name="connsiteY108" fmla="*/ 0 h 164201"/>
                <a:gd name="connsiteX109" fmla="*/ 732625 w 1273016"/>
                <a:gd name="connsiteY109" fmla="*/ 10535 h 164201"/>
                <a:gd name="connsiteX110" fmla="*/ 731434 w 1273016"/>
                <a:gd name="connsiteY110" fmla="*/ 19145 h 164201"/>
                <a:gd name="connsiteX111" fmla="*/ 713518 w 1273016"/>
                <a:gd name="connsiteY111" fmla="*/ 131683 h 164201"/>
                <a:gd name="connsiteX112" fmla="*/ 715299 w 1273016"/>
                <a:gd name="connsiteY112" fmla="*/ 133769 h 164201"/>
                <a:gd name="connsiteX113" fmla="*/ 763867 w 1273016"/>
                <a:gd name="connsiteY113" fmla="*/ 133769 h 164201"/>
                <a:gd name="connsiteX114" fmla="*/ 776459 w 1273016"/>
                <a:gd name="connsiteY114" fmla="*/ 146533 h 164201"/>
                <a:gd name="connsiteX115" fmla="*/ 758543 w 1273016"/>
                <a:gd name="connsiteY115" fmla="*/ 163163 h 164201"/>
                <a:gd name="connsiteX116" fmla="*/ 691601 w 1273016"/>
                <a:gd name="connsiteY116" fmla="*/ 163163 h 164201"/>
                <a:gd name="connsiteX117" fmla="*/ 798824 w 1273016"/>
                <a:gd name="connsiteY117" fmla="*/ 82096 h 164201"/>
                <a:gd name="connsiteX118" fmla="*/ 872576 w 1273016"/>
                <a:gd name="connsiteY118" fmla="*/ 0 h 164201"/>
                <a:gd name="connsiteX119" fmla="*/ 910628 w 1273016"/>
                <a:gd name="connsiteY119" fmla="*/ 11878 h 164201"/>
                <a:gd name="connsiteX120" fmla="*/ 916410 w 1273016"/>
                <a:gd name="connsiteY120" fmla="*/ 22412 h 164201"/>
                <a:gd name="connsiteX121" fmla="*/ 898931 w 1273016"/>
                <a:gd name="connsiteY121" fmla="*/ 40081 h 164201"/>
                <a:gd name="connsiteX122" fmla="*/ 891673 w 1273016"/>
                <a:gd name="connsiteY122" fmla="*/ 37709 h 164201"/>
                <a:gd name="connsiteX123" fmla="*/ 867680 w 1273016"/>
                <a:gd name="connsiteY123" fmla="*/ 28804 h 164201"/>
                <a:gd name="connsiteX124" fmla="*/ 830066 w 1273016"/>
                <a:gd name="connsiteY124" fmla="*/ 81953 h 164201"/>
                <a:gd name="connsiteX125" fmla="*/ 826513 w 1273016"/>
                <a:gd name="connsiteY125" fmla="*/ 111500 h 164201"/>
                <a:gd name="connsiteX126" fmla="*/ 850954 w 1273016"/>
                <a:gd name="connsiteY126" fmla="*/ 135103 h 164201"/>
                <a:gd name="connsiteX127" fmla="*/ 883682 w 1273016"/>
                <a:gd name="connsiteY127" fmla="*/ 107194 h 164201"/>
                <a:gd name="connsiteX128" fmla="*/ 885015 w 1273016"/>
                <a:gd name="connsiteY128" fmla="*/ 98279 h 164201"/>
                <a:gd name="connsiteX129" fmla="*/ 883387 w 1273016"/>
                <a:gd name="connsiteY129" fmla="*/ 96202 h 164201"/>
                <a:gd name="connsiteX130" fmla="*/ 869909 w 1273016"/>
                <a:gd name="connsiteY130" fmla="*/ 96202 h 164201"/>
                <a:gd name="connsiteX131" fmla="*/ 857612 w 1273016"/>
                <a:gd name="connsiteY131" fmla="*/ 83439 h 164201"/>
                <a:gd name="connsiteX132" fmla="*/ 873900 w 1273016"/>
                <a:gd name="connsiteY132" fmla="*/ 67104 h 164201"/>
                <a:gd name="connsiteX133" fmla="*/ 907666 w 1273016"/>
                <a:gd name="connsiteY133" fmla="*/ 67104 h 164201"/>
                <a:gd name="connsiteX134" fmla="*/ 917886 w 1273016"/>
                <a:gd name="connsiteY134" fmla="*/ 79429 h 164201"/>
                <a:gd name="connsiteX135" fmla="*/ 913448 w 1273016"/>
                <a:gd name="connsiteY135" fmla="*/ 107337 h 164201"/>
                <a:gd name="connsiteX136" fmla="*/ 846211 w 1273016"/>
                <a:gd name="connsiteY136" fmla="*/ 164049 h 164201"/>
                <a:gd name="connsiteX137" fmla="*/ 795261 w 1273016"/>
                <a:gd name="connsiteY137" fmla="*/ 116243 h 164201"/>
                <a:gd name="connsiteX138" fmla="*/ 798528 w 1273016"/>
                <a:gd name="connsiteY138" fmla="*/ 81953 h 164201"/>
                <a:gd name="connsiteX139" fmla="*/ 798824 w 1273016"/>
                <a:gd name="connsiteY139" fmla="*/ 82096 h 164201"/>
                <a:gd name="connsiteX140" fmla="*/ 963206 w 1273016"/>
                <a:gd name="connsiteY140" fmla="*/ 151286 h 164201"/>
                <a:gd name="connsiteX141" fmla="*/ 946175 w 1273016"/>
                <a:gd name="connsiteY141" fmla="*/ 164049 h 164201"/>
                <a:gd name="connsiteX142" fmla="*/ 932698 w 1273016"/>
                <a:gd name="connsiteY142" fmla="*/ 153514 h 164201"/>
                <a:gd name="connsiteX143" fmla="*/ 933879 w 1273016"/>
                <a:gd name="connsiteY143" fmla="*/ 144904 h 164201"/>
                <a:gd name="connsiteX144" fmla="*/ 955062 w 1273016"/>
                <a:gd name="connsiteY144" fmla="*/ 12763 h 164201"/>
                <a:gd name="connsiteX145" fmla="*/ 972093 w 1273016"/>
                <a:gd name="connsiteY145" fmla="*/ 0 h 164201"/>
                <a:gd name="connsiteX146" fmla="*/ 985571 w 1273016"/>
                <a:gd name="connsiteY146" fmla="*/ 10535 h 164201"/>
                <a:gd name="connsiteX147" fmla="*/ 984390 w 1273016"/>
                <a:gd name="connsiteY147" fmla="*/ 19145 h 164201"/>
                <a:gd name="connsiteX148" fmla="*/ 963206 w 1273016"/>
                <a:gd name="connsiteY148" fmla="*/ 151286 h 164201"/>
                <a:gd name="connsiteX149" fmla="*/ 1111596 w 1273016"/>
                <a:gd name="connsiteY149" fmla="*/ 886 h 164201"/>
                <a:gd name="connsiteX150" fmla="*/ 1124188 w 1273016"/>
                <a:gd name="connsiteY150" fmla="*/ 13659 h 164201"/>
                <a:gd name="connsiteX151" fmla="*/ 1106262 w 1273016"/>
                <a:gd name="connsiteY151" fmla="*/ 30137 h 164201"/>
                <a:gd name="connsiteX152" fmla="*/ 1049541 w 1273016"/>
                <a:gd name="connsiteY152" fmla="*/ 30137 h 164201"/>
                <a:gd name="connsiteX153" fmla="*/ 1047026 w 1273016"/>
                <a:gd name="connsiteY153" fmla="*/ 32214 h 164201"/>
                <a:gd name="connsiteX154" fmla="*/ 1042435 w 1273016"/>
                <a:gd name="connsiteY154" fmla="*/ 62503 h 164201"/>
                <a:gd name="connsiteX155" fmla="*/ 1044064 w 1273016"/>
                <a:gd name="connsiteY155" fmla="*/ 64579 h 164201"/>
                <a:gd name="connsiteX156" fmla="*/ 1092641 w 1273016"/>
                <a:gd name="connsiteY156" fmla="*/ 64579 h 164201"/>
                <a:gd name="connsiteX157" fmla="*/ 1105224 w 1273016"/>
                <a:gd name="connsiteY157" fmla="*/ 77353 h 164201"/>
                <a:gd name="connsiteX158" fmla="*/ 1087307 w 1273016"/>
                <a:gd name="connsiteY158" fmla="*/ 93974 h 164201"/>
                <a:gd name="connsiteX159" fmla="*/ 1039473 w 1273016"/>
                <a:gd name="connsiteY159" fmla="*/ 93974 h 164201"/>
                <a:gd name="connsiteX160" fmla="*/ 1037101 w 1273016"/>
                <a:gd name="connsiteY160" fmla="*/ 96060 h 164201"/>
                <a:gd name="connsiteX161" fmla="*/ 1031472 w 1273016"/>
                <a:gd name="connsiteY161" fmla="*/ 131540 h 164201"/>
                <a:gd name="connsiteX162" fmla="*/ 1033101 w 1273016"/>
                <a:gd name="connsiteY162" fmla="*/ 133617 h 164201"/>
                <a:gd name="connsiteX163" fmla="*/ 1092937 w 1273016"/>
                <a:gd name="connsiteY163" fmla="*/ 133617 h 164201"/>
                <a:gd name="connsiteX164" fmla="*/ 1105519 w 1273016"/>
                <a:gd name="connsiteY164" fmla="*/ 146390 h 164201"/>
                <a:gd name="connsiteX165" fmla="*/ 1087603 w 1273016"/>
                <a:gd name="connsiteY165" fmla="*/ 163011 h 164201"/>
                <a:gd name="connsiteX166" fmla="*/ 1010003 w 1273016"/>
                <a:gd name="connsiteY166" fmla="*/ 163011 h 164201"/>
                <a:gd name="connsiteX167" fmla="*/ 998601 w 1273016"/>
                <a:gd name="connsiteY167" fmla="*/ 149209 h 164201"/>
                <a:gd name="connsiteX168" fmla="*/ 1019775 w 1273016"/>
                <a:gd name="connsiteY168" fmla="*/ 14402 h 164201"/>
                <a:gd name="connsiteX169" fmla="*/ 1035329 w 1273016"/>
                <a:gd name="connsiteY169" fmla="*/ 591 h 164201"/>
                <a:gd name="connsiteX170" fmla="*/ 1111891 w 1273016"/>
                <a:gd name="connsiteY170" fmla="*/ 591 h 164201"/>
                <a:gd name="connsiteX171" fmla="*/ 1111596 w 1273016"/>
                <a:gd name="connsiteY171" fmla="*/ 886 h 164201"/>
                <a:gd name="connsiteX172" fmla="*/ 1242508 w 1273016"/>
                <a:gd name="connsiteY172" fmla="*/ 12763 h 164201"/>
                <a:gd name="connsiteX173" fmla="*/ 1259538 w 1273016"/>
                <a:gd name="connsiteY173" fmla="*/ 0 h 164201"/>
                <a:gd name="connsiteX174" fmla="*/ 1273016 w 1273016"/>
                <a:gd name="connsiteY174" fmla="*/ 10535 h 164201"/>
                <a:gd name="connsiteX175" fmla="*/ 1271835 w 1273016"/>
                <a:gd name="connsiteY175" fmla="*/ 19145 h 164201"/>
                <a:gd name="connsiteX176" fmla="*/ 1251547 w 1273016"/>
                <a:gd name="connsiteY176" fmla="*/ 145942 h 164201"/>
                <a:gd name="connsiteX177" fmla="*/ 1233183 w 1273016"/>
                <a:gd name="connsiteY177" fmla="*/ 164049 h 164201"/>
                <a:gd name="connsiteX178" fmla="*/ 1213933 w 1273016"/>
                <a:gd name="connsiteY178" fmla="*/ 146828 h 164201"/>
                <a:gd name="connsiteX179" fmla="*/ 1178833 w 1273016"/>
                <a:gd name="connsiteY179" fmla="*/ 65027 h 164201"/>
                <a:gd name="connsiteX180" fmla="*/ 1176461 w 1273016"/>
                <a:gd name="connsiteY180" fmla="*/ 62503 h 164201"/>
                <a:gd name="connsiteX181" fmla="*/ 1175128 w 1273016"/>
                <a:gd name="connsiteY181" fmla="*/ 65027 h 164201"/>
                <a:gd name="connsiteX182" fmla="*/ 1161355 w 1273016"/>
                <a:gd name="connsiteY182" fmla="*/ 151286 h 164201"/>
                <a:gd name="connsiteX183" fmla="*/ 1144324 w 1273016"/>
                <a:gd name="connsiteY183" fmla="*/ 164049 h 164201"/>
                <a:gd name="connsiteX184" fmla="*/ 1130846 w 1273016"/>
                <a:gd name="connsiteY184" fmla="*/ 153514 h 164201"/>
                <a:gd name="connsiteX185" fmla="*/ 1132037 w 1273016"/>
                <a:gd name="connsiteY185" fmla="*/ 144904 h 164201"/>
                <a:gd name="connsiteX186" fmla="*/ 1152325 w 1273016"/>
                <a:gd name="connsiteY186" fmla="*/ 18107 h 164201"/>
                <a:gd name="connsiteX187" fmla="*/ 1170689 w 1273016"/>
                <a:gd name="connsiteY187" fmla="*/ 0 h 164201"/>
                <a:gd name="connsiteX188" fmla="*/ 1189939 w 1273016"/>
                <a:gd name="connsiteY188" fmla="*/ 17221 h 164201"/>
                <a:gd name="connsiteX189" fmla="*/ 1225039 w 1273016"/>
                <a:gd name="connsiteY189" fmla="*/ 99022 h 164201"/>
                <a:gd name="connsiteX190" fmla="*/ 1227401 w 1273016"/>
                <a:gd name="connsiteY190" fmla="*/ 101403 h 164201"/>
                <a:gd name="connsiteX191" fmla="*/ 1228735 w 1273016"/>
                <a:gd name="connsiteY191" fmla="*/ 99022 h 164201"/>
                <a:gd name="connsiteX192" fmla="*/ 1242508 w 1273016"/>
                <a:gd name="connsiteY192" fmla="*/ 12763 h 16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273016" h="164201">
                  <a:moveTo>
                    <a:pt x="76714" y="0"/>
                  </a:moveTo>
                  <a:cubicBezTo>
                    <a:pt x="108547" y="0"/>
                    <a:pt x="127654" y="13802"/>
                    <a:pt x="127654" y="48254"/>
                  </a:cubicBezTo>
                  <a:cubicBezTo>
                    <a:pt x="127654" y="57750"/>
                    <a:pt x="126473" y="69180"/>
                    <a:pt x="124701" y="82096"/>
                  </a:cubicBezTo>
                  <a:cubicBezTo>
                    <a:pt x="116986" y="131988"/>
                    <a:pt x="107509" y="164201"/>
                    <a:pt x="50940" y="164201"/>
                  </a:cubicBezTo>
                  <a:cubicBezTo>
                    <a:pt x="19841" y="164201"/>
                    <a:pt x="0" y="151133"/>
                    <a:pt x="0" y="116396"/>
                  </a:cubicBezTo>
                  <a:cubicBezTo>
                    <a:pt x="0" y="106594"/>
                    <a:pt x="1181" y="95164"/>
                    <a:pt x="3258" y="82096"/>
                  </a:cubicBezTo>
                  <a:cubicBezTo>
                    <a:pt x="10659" y="34595"/>
                    <a:pt x="20879" y="0"/>
                    <a:pt x="76714" y="0"/>
                  </a:cubicBezTo>
                  <a:close/>
                  <a:moveTo>
                    <a:pt x="96403" y="52702"/>
                  </a:moveTo>
                  <a:cubicBezTo>
                    <a:pt x="96403" y="37262"/>
                    <a:pt x="87821" y="28946"/>
                    <a:pt x="72266" y="28946"/>
                  </a:cubicBezTo>
                  <a:cubicBezTo>
                    <a:pt x="40577" y="28946"/>
                    <a:pt x="38795" y="60122"/>
                    <a:pt x="34642" y="82096"/>
                  </a:cubicBezTo>
                  <a:cubicBezTo>
                    <a:pt x="32280" y="93974"/>
                    <a:pt x="31099" y="103775"/>
                    <a:pt x="31099" y="111642"/>
                  </a:cubicBezTo>
                  <a:cubicBezTo>
                    <a:pt x="31099" y="128273"/>
                    <a:pt x="38052" y="135255"/>
                    <a:pt x="55531" y="135255"/>
                  </a:cubicBezTo>
                  <a:cubicBezTo>
                    <a:pt x="84563" y="135255"/>
                    <a:pt x="88849" y="112681"/>
                    <a:pt x="93155" y="82096"/>
                  </a:cubicBezTo>
                  <a:cubicBezTo>
                    <a:pt x="94774" y="70371"/>
                    <a:pt x="96403" y="60569"/>
                    <a:pt x="96403" y="52702"/>
                  </a:cubicBezTo>
                  <a:close/>
                  <a:moveTo>
                    <a:pt x="209398" y="28651"/>
                  </a:moveTo>
                  <a:cubicBezTo>
                    <a:pt x="200073" y="28651"/>
                    <a:pt x="184966" y="32366"/>
                    <a:pt x="184966" y="45729"/>
                  </a:cubicBezTo>
                  <a:cubicBezTo>
                    <a:pt x="184966" y="52559"/>
                    <a:pt x="191776" y="56864"/>
                    <a:pt x="201997" y="61760"/>
                  </a:cubicBezTo>
                  <a:lnTo>
                    <a:pt x="221694" y="71266"/>
                  </a:lnTo>
                  <a:cubicBezTo>
                    <a:pt x="242869" y="81505"/>
                    <a:pt x="254422" y="95460"/>
                    <a:pt x="254422" y="114910"/>
                  </a:cubicBezTo>
                  <a:cubicBezTo>
                    <a:pt x="254422" y="147123"/>
                    <a:pt x="225990" y="164049"/>
                    <a:pt x="194443" y="164049"/>
                  </a:cubicBezTo>
                  <a:cubicBezTo>
                    <a:pt x="171936" y="164049"/>
                    <a:pt x="151943" y="156629"/>
                    <a:pt x="138170" y="141037"/>
                  </a:cubicBezTo>
                  <a:cubicBezTo>
                    <a:pt x="136208" y="138951"/>
                    <a:pt x="135144" y="136179"/>
                    <a:pt x="135207" y="133321"/>
                  </a:cubicBezTo>
                  <a:cubicBezTo>
                    <a:pt x="135207" y="125158"/>
                    <a:pt x="143647" y="116986"/>
                    <a:pt x="152829" y="116986"/>
                  </a:cubicBezTo>
                  <a:cubicBezTo>
                    <a:pt x="156829" y="116986"/>
                    <a:pt x="160087" y="119510"/>
                    <a:pt x="162906" y="122187"/>
                  </a:cubicBezTo>
                  <a:cubicBezTo>
                    <a:pt x="170307" y="129159"/>
                    <a:pt x="179632" y="135398"/>
                    <a:pt x="196815" y="135398"/>
                  </a:cubicBezTo>
                  <a:cubicBezTo>
                    <a:pt x="207331" y="135398"/>
                    <a:pt x="222437" y="131388"/>
                    <a:pt x="222437" y="117434"/>
                  </a:cubicBezTo>
                  <a:cubicBezTo>
                    <a:pt x="222437" y="109718"/>
                    <a:pt x="217103" y="103927"/>
                    <a:pt x="206588" y="99022"/>
                  </a:cubicBezTo>
                  <a:lnTo>
                    <a:pt x="186300" y="89525"/>
                  </a:lnTo>
                  <a:cubicBezTo>
                    <a:pt x="165125" y="79572"/>
                    <a:pt x="152829" y="68142"/>
                    <a:pt x="152829" y="46911"/>
                  </a:cubicBezTo>
                  <a:cubicBezTo>
                    <a:pt x="152829" y="17517"/>
                    <a:pt x="179784" y="0"/>
                    <a:pt x="211179" y="0"/>
                  </a:cubicBezTo>
                  <a:cubicBezTo>
                    <a:pt x="228210" y="0"/>
                    <a:pt x="245088" y="3562"/>
                    <a:pt x="259013" y="15888"/>
                  </a:cubicBezTo>
                  <a:cubicBezTo>
                    <a:pt x="261833" y="18259"/>
                    <a:pt x="264195" y="21526"/>
                    <a:pt x="264195" y="25975"/>
                  </a:cubicBezTo>
                  <a:cubicBezTo>
                    <a:pt x="264195" y="34147"/>
                    <a:pt x="256051" y="42310"/>
                    <a:pt x="247907" y="42310"/>
                  </a:cubicBezTo>
                  <a:cubicBezTo>
                    <a:pt x="243907" y="42310"/>
                    <a:pt x="240211" y="40234"/>
                    <a:pt x="238135" y="38595"/>
                  </a:cubicBezTo>
                  <a:cubicBezTo>
                    <a:pt x="229848" y="32071"/>
                    <a:pt x="220513" y="28804"/>
                    <a:pt x="209255" y="28804"/>
                  </a:cubicBezTo>
                  <a:lnTo>
                    <a:pt x="209398" y="28651"/>
                  </a:lnTo>
                  <a:close/>
                  <a:moveTo>
                    <a:pt x="291741" y="30289"/>
                  </a:moveTo>
                  <a:cubicBezTo>
                    <a:pt x="282712" y="30289"/>
                    <a:pt x="279454" y="24193"/>
                    <a:pt x="279454" y="17517"/>
                  </a:cubicBezTo>
                  <a:cubicBezTo>
                    <a:pt x="279454" y="8611"/>
                    <a:pt x="285074" y="886"/>
                    <a:pt x="295894" y="886"/>
                  </a:cubicBezTo>
                  <a:lnTo>
                    <a:pt x="385934" y="886"/>
                  </a:lnTo>
                  <a:cubicBezTo>
                    <a:pt x="395269" y="886"/>
                    <a:pt x="398516" y="6972"/>
                    <a:pt x="398516" y="13659"/>
                  </a:cubicBezTo>
                  <a:cubicBezTo>
                    <a:pt x="398516" y="22565"/>
                    <a:pt x="392897" y="30137"/>
                    <a:pt x="380600" y="30137"/>
                  </a:cubicBezTo>
                  <a:lnTo>
                    <a:pt x="353797" y="30137"/>
                  </a:lnTo>
                  <a:cubicBezTo>
                    <a:pt x="352463" y="30137"/>
                    <a:pt x="351720" y="30585"/>
                    <a:pt x="351425" y="32214"/>
                  </a:cubicBezTo>
                  <a:lnTo>
                    <a:pt x="332613" y="151133"/>
                  </a:lnTo>
                  <a:cubicBezTo>
                    <a:pt x="330994" y="161382"/>
                    <a:pt x="324469" y="163906"/>
                    <a:pt x="315582" y="163906"/>
                  </a:cubicBezTo>
                  <a:cubicBezTo>
                    <a:pt x="309067" y="163906"/>
                    <a:pt x="302114" y="161525"/>
                    <a:pt x="302114" y="153362"/>
                  </a:cubicBezTo>
                  <a:cubicBezTo>
                    <a:pt x="302114" y="152029"/>
                    <a:pt x="302552" y="148466"/>
                    <a:pt x="303295" y="144751"/>
                  </a:cubicBezTo>
                  <a:lnTo>
                    <a:pt x="321212" y="32214"/>
                  </a:lnTo>
                  <a:cubicBezTo>
                    <a:pt x="321507" y="30585"/>
                    <a:pt x="320926" y="30137"/>
                    <a:pt x="319288" y="30137"/>
                  </a:cubicBezTo>
                  <a:lnTo>
                    <a:pt x="291598" y="30137"/>
                  </a:lnTo>
                  <a:lnTo>
                    <a:pt x="291741" y="30289"/>
                  </a:lnTo>
                  <a:close/>
                  <a:moveTo>
                    <a:pt x="421472" y="14697"/>
                  </a:moveTo>
                  <a:cubicBezTo>
                    <a:pt x="422805" y="5791"/>
                    <a:pt x="427692" y="886"/>
                    <a:pt x="437026" y="886"/>
                  </a:cubicBezTo>
                  <a:lnTo>
                    <a:pt x="488861" y="886"/>
                  </a:lnTo>
                  <a:cubicBezTo>
                    <a:pt x="514483" y="886"/>
                    <a:pt x="533286" y="12763"/>
                    <a:pt x="533286" y="39786"/>
                  </a:cubicBezTo>
                  <a:cubicBezTo>
                    <a:pt x="533286" y="54635"/>
                    <a:pt x="528104" y="67999"/>
                    <a:pt x="515807" y="77353"/>
                  </a:cubicBezTo>
                  <a:cubicBezTo>
                    <a:pt x="514474" y="78534"/>
                    <a:pt x="513436" y="78981"/>
                    <a:pt x="513436" y="80172"/>
                  </a:cubicBezTo>
                  <a:cubicBezTo>
                    <a:pt x="513436" y="81058"/>
                    <a:pt x="513883" y="81505"/>
                    <a:pt x="515064" y="82696"/>
                  </a:cubicBezTo>
                  <a:cubicBezTo>
                    <a:pt x="520398" y="88925"/>
                    <a:pt x="526180" y="95460"/>
                    <a:pt x="526180" y="110014"/>
                  </a:cubicBezTo>
                  <a:cubicBezTo>
                    <a:pt x="526180" y="137922"/>
                    <a:pt x="504844" y="163163"/>
                    <a:pt x="467982" y="163163"/>
                  </a:cubicBezTo>
                  <a:lnTo>
                    <a:pt x="411699" y="163163"/>
                  </a:lnTo>
                  <a:cubicBezTo>
                    <a:pt x="402812" y="163163"/>
                    <a:pt x="398669" y="158267"/>
                    <a:pt x="400002" y="149352"/>
                  </a:cubicBezTo>
                  <a:lnTo>
                    <a:pt x="421176" y="14545"/>
                  </a:lnTo>
                  <a:lnTo>
                    <a:pt x="421472" y="14697"/>
                  </a:lnTo>
                  <a:close/>
                  <a:moveTo>
                    <a:pt x="441017" y="96355"/>
                  </a:moveTo>
                  <a:cubicBezTo>
                    <a:pt x="439398" y="96355"/>
                    <a:pt x="438950" y="96793"/>
                    <a:pt x="438502" y="98431"/>
                  </a:cubicBezTo>
                  <a:lnTo>
                    <a:pt x="433321" y="131836"/>
                  </a:lnTo>
                  <a:cubicBezTo>
                    <a:pt x="433026" y="133464"/>
                    <a:pt x="433321" y="133912"/>
                    <a:pt x="434950" y="133912"/>
                  </a:cubicBezTo>
                  <a:lnTo>
                    <a:pt x="473307" y="133912"/>
                  </a:lnTo>
                  <a:cubicBezTo>
                    <a:pt x="486337" y="133912"/>
                    <a:pt x="494481" y="124854"/>
                    <a:pt x="494481" y="112681"/>
                  </a:cubicBezTo>
                  <a:cubicBezTo>
                    <a:pt x="494481" y="102889"/>
                    <a:pt x="487671" y="96355"/>
                    <a:pt x="478641" y="96355"/>
                  </a:cubicBezTo>
                  <a:lnTo>
                    <a:pt x="441017" y="96355"/>
                  </a:lnTo>
                  <a:close/>
                  <a:moveTo>
                    <a:pt x="480565" y="66951"/>
                  </a:moveTo>
                  <a:cubicBezTo>
                    <a:pt x="492852" y="66951"/>
                    <a:pt x="501301" y="57902"/>
                    <a:pt x="501301" y="44987"/>
                  </a:cubicBezTo>
                  <a:cubicBezTo>
                    <a:pt x="501301" y="35481"/>
                    <a:pt x="494338" y="30289"/>
                    <a:pt x="485746" y="30289"/>
                  </a:cubicBezTo>
                  <a:lnTo>
                    <a:pt x="451533" y="30289"/>
                  </a:lnTo>
                  <a:cubicBezTo>
                    <a:pt x="449913" y="30289"/>
                    <a:pt x="449170" y="30728"/>
                    <a:pt x="449018" y="32366"/>
                  </a:cubicBezTo>
                  <a:lnTo>
                    <a:pt x="443836" y="64732"/>
                  </a:lnTo>
                  <a:cubicBezTo>
                    <a:pt x="443541" y="66361"/>
                    <a:pt x="444132" y="66808"/>
                    <a:pt x="445760" y="66808"/>
                  </a:cubicBezTo>
                  <a:lnTo>
                    <a:pt x="480565" y="66808"/>
                  </a:lnTo>
                  <a:lnTo>
                    <a:pt x="480565" y="66951"/>
                  </a:lnTo>
                  <a:close/>
                  <a:moveTo>
                    <a:pt x="660797" y="886"/>
                  </a:moveTo>
                  <a:cubicBezTo>
                    <a:pt x="670122" y="886"/>
                    <a:pt x="673379" y="6972"/>
                    <a:pt x="673379" y="13659"/>
                  </a:cubicBezTo>
                  <a:cubicBezTo>
                    <a:pt x="673379" y="22565"/>
                    <a:pt x="667760" y="30137"/>
                    <a:pt x="655463" y="30137"/>
                  </a:cubicBezTo>
                  <a:lnTo>
                    <a:pt x="598742" y="30137"/>
                  </a:lnTo>
                  <a:cubicBezTo>
                    <a:pt x="597113" y="30137"/>
                    <a:pt x="596370" y="30585"/>
                    <a:pt x="596227" y="32214"/>
                  </a:cubicBezTo>
                  <a:lnTo>
                    <a:pt x="591636" y="62503"/>
                  </a:lnTo>
                  <a:cubicBezTo>
                    <a:pt x="591341" y="64132"/>
                    <a:pt x="591636" y="64579"/>
                    <a:pt x="593265" y="64579"/>
                  </a:cubicBezTo>
                  <a:lnTo>
                    <a:pt x="641842" y="64579"/>
                  </a:lnTo>
                  <a:cubicBezTo>
                    <a:pt x="651167" y="64579"/>
                    <a:pt x="654425" y="70666"/>
                    <a:pt x="654425" y="77353"/>
                  </a:cubicBezTo>
                  <a:cubicBezTo>
                    <a:pt x="654425" y="86258"/>
                    <a:pt x="648795" y="93974"/>
                    <a:pt x="636508" y="93974"/>
                  </a:cubicBezTo>
                  <a:lnTo>
                    <a:pt x="588674" y="93974"/>
                  </a:lnTo>
                  <a:cubicBezTo>
                    <a:pt x="587045" y="93974"/>
                    <a:pt x="586597" y="94421"/>
                    <a:pt x="586302" y="96060"/>
                  </a:cubicBezTo>
                  <a:lnTo>
                    <a:pt x="580682" y="131540"/>
                  </a:lnTo>
                  <a:cubicBezTo>
                    <a:pt x="580377" y="133169"/>
                    <a:pt x="580682" y="133617"/>
                    <a:pt x="582301" y="133617"/>
                  </a:cubicBezTo>
                  <a:lnTo>
                    <a:pt x="642137" y="133617"/>
                  </a:lnTo>
                  <a:cubicBezTo>
                    <a:pt x="651462" y="133617"/>
                    <a:pt x="654720" y="139703"/>
                    <a:pt x="654720" y="146390"/>
                  </a:cubicBezTo>
                  <a:cubicBezTo>
                    <a:pt x="654720" y="155296"/>
                    <a:pt x="649091" y="163011"/>
                    <a:pt x="636803" y="163011"/>
                  </a:cubicBezTo>
                  <a:lnTo>
                    <a:pt x="559203" y="163011"/>
                  </a:lnTo>
                  <a:cubicBezTo>
                    <a:pt x="550316" y="163011"/>
                    <a:pt x="546468" y="158115"/>
                    <a:pt x="547802" y="149209"/>
                  </a:cubicBezTo>
                  <a:lnTo>
                    <a:pt x="568976" y="14402"/>
                  </a:lnTo>
                  <a:cubicBezTo>
                    <a:pt x="570309" y="5486"/>
                    <a:pt x="575196" y="591"/>
                    <a:pt x="584530" y="591"/>
                  </a:cubicBezTo>
                  <a:lnTo>
                    <a:pt x="661092" y="591"/>
                  </a:lnTo>
                  <a:lnTo>
                    <a:pt x="660797" y="886"/>
                  </a:lnTo>
                  <a:close/>
                  <a:moveTo>
                    <a:pt x="691601" y="163163"/>
                  </a:moveTo>
                  <a:cubicBezTo>
                    <a:pt x="683457" y="163163"/>
                    <a:pt x="679009" y="158267"/>
                    <a:pt x="680495" y="149352"/>
                  </a:cubicBezTo>
                  <a:lnTo>
                    <a:pt x="702116" y="12763"/>
                  </a:lnTo>
                  <a:cubicBezTo>
                    <a:pt x="703745" y="2524"/>
                    <a:pt x="710260" y="0"/>
                    <a:pt x="719147" y="0"/>
                  </a:cubicBezTo>
                  <a:cubicBezTo>
                    <a:pt x="725662" y="0"/>
                    <a:pt x="732625" y="2372"/>
                    <a:pt x="732625" y="10535"/>
                  </a:cubicBezTo>
                  <a:cubicBezTo>
                    <a:pt x="732625" y="11878"/>
                    <a:pt x="732177" y="15440"/>
                    <a:pt x="731434" y="19145"/>
                  </a:cubicBezTo>
                  <a:lnTo>
                    <a:pt x="713518" y="131683"/>
                  </a:lnTo>
                  <a:cubicBezTo>
                    <a:pt x="713223" y="133321"/>
                    <a:pt x="713813" y="133769"/>
                    <a:pt x="715299" y="133769"/>
                  </a:cubicBezTo>
                  <a:lnTo>
                    <a:pt x="763867" y="133769"/>
                  </a:lnTo>
                  <a:cubicBezTo>
                    <a:pt x="773201" y="133769"/>
                    <a:pt x="776459" y="139856"/>
                    <a:pt x="776459" y="146533"/>
                  </a:cubicBezTo>
                  <a:cubicBezTo>
                    <a:pt x="776459" y="155438"/>
                    <a:pt x="770830" y="163163"/>
                    <a:pt x="758543" y="163163"/>
                  </a:cubicBezTo>
                  <a:lnTo>
                    <a:pt x="691601" y="163163"/>
                  </a:lnTo>
                  <a:close/>
                  <a:moveTo>
                    <a:pt x="798824" y="82096"/>
                  </a:moveTo>
                  <a:cubicBezTo>
                    <a:pt x="806225" y="34595"/>
                    <a:pt x="816445" y="0"/>
                    <a:pt x="872576" y="0"/>
                  </a:cubicBezTo>
                  <a:cubicBezTo>
                    <a:pt x="885311" y="0"/>
                    <a:pt x="901151" y="3267"/>
                    <a:pt x="910628" y="11878"/>
                  </a:cubicBezTo>
                  <a:cubicBezTo>
                    <a:pt x="913886" y="14840"/>
                    <a:pt x="916410" y="17669"/>
                    <a:pt x="916410" y="22412"/>
                  </a:cubicBezTo>
                  <a:cubicBezTo>
                    <a:pt x="916410" y="30585"/>
                    <a:pt x="908114" y="40081"/>
                    <a:pt x="898931" y="40081"/>
                  </a:cubicBezTo>
                  <a:cubicBezTo>
                    <a:pt x="895674" y="40081"/>
                    <a:pt x="893597" y="39195"/>
                    <a:pt x="891673" y="37709"/>
                  </a:cubicBezTo>
                  <a:cubicBezTo>
                    <a:pt x="882787" y="30432"/>
                    <a:pt x="877310" y="28804"/>
                    <a:pt x="867680" y="28804"/>
                  </a:cubicBezTo>
                  <a:cubicBezTo>
                    <a:pt x="836143" y="28804"/>
                    <a:pt x="834219" y="59979"/>
                    <a:pt x="830066" y="81953"/>
                  </a:cubicBezTo>
                  <a:cubicBezTo>
                    <a:pt x="827694" y="93831"/>
                    <a:pt x="826513" y="103622"/>
                    <a:pt x="826513" y="111500"/>
                  </a:cubicBezTo>
                  <a:cubicBezTo>
                    <a:pt x="826513" y="128121"/>
                    <a:pt x="833476" y="135103"/>
                    <a:pt x="850954" y="135103"/>
                  </a:cubicBezTo>
                  <a:cubicBezTo>
                    <a:pt x="868423" y="135103"/>
                    <a:pt x="881015" y="124416"/>
                    <a:pt x="883682" y="107194"/>
                  </a:cubicBezTo>
                  <a:lnTo>
                    <a:pt x="885015" y="98279"/>
                  </a:lnTo>
                  <a:cubicBezTo>
                    <a:pt x="885311" y="96650"/>
                    <a:pt x="884711" y="96202"/>
                    <a:pt x="883387" y="96202"/>
                  </a:cubicBezTo>
                  <a:lnTo>
                    <a:pt x="869909" y="96202"/>
                  </a:lnTo>
                  <a:cubicBezTo>
                    <a:pt x="860870" y="96202"/>
                    <a:pt x="857612" y="90116"/>
                    <a:pt x="857612" y="83439"/>
                  </a:cubicBezTo>
                  <a:cubicBezTo>
                    <a:pt x="857612" y="74828"/>
                    <a:pt x="863241" y="67104"/>
                    <a:pt x="873900" y="67104"/>
                  </a:cubicBezTo>
                  <a:lnTo>
                    <a:pt x="907666" y="67104"/>
                  </a:lnTo>
                  <a:cubicBezTo>
                    <a:pt x="914486" y="67104"/>
                    <a:pt x="919372" y="70666"/>
                    <a:pt x="917886" y="79429"/>
                  </a:cubicBezTo>
                  <a:lnTo>
                    <a:pt x="913448" y="107337"/>
                  </a:lnTo>
                  <a:cubicBezTo>
                    <a:pt x="907666" y="144161"/>
                    <a:pt x="886492" y="164049"/>
                    <a:pt x="846211" y="164049"/>
                  </a:cubicBezTo>
                  <a:cubicBezTo>
                    <a:pt x="815111" y="164049"/>
                    <a:pt x="795261" y="150990"/>
                    <a:pt x="795261" y="116243"/>
                  </a:cubicBezTo>
                  <a:cubicBezTo>
                    <a:pt x="795261" y="106451"/>
                    <a:pt x="796452" y="95012"/>
                    <a:pt x="798528" y="81953"/>
                  </a:cubicBezTo>
                  <a:lnTo>
                    <a:pt x="798824" y="82096"/>
                  </a:lnTo>
                  <a:close/>
                  <a:moveTo>
                    <a:pt x="963206" y="151286"/>
                  </a:moveTo>
                  <a:cubicBezTo>
                    <a:pt x="961577" y="161525"/>
                    <a:pt x="955062" y="164049"/>
                    <a:pt x="946175" y="164049"/>
                  </a:cubicBezTo>
                  <a:cubicBezTo>
                    <a:pt x="939660" y="164049"/>
                    <a:pt x="932698" y="161677"/>
                    <a:pt x="932698" y="153514"/>
                  </a:cubicBezTo>
                  <a:cubicBezTo>
                    <a:pt x="932698" y="152171"/>
                    <a:pt x="933145" y="148609"/>
                    <a:pt x="933879" y="144904"/>
                  </a:cubicBezTo>
                  <a:lnTo>
                    <a:pt x="955062" y="12763"/>
                  </a:lnTo>
                  <a:cubicBezTo>
                    <a:pt x="956691" y="2524"/>
                    <a:pt x="963206" y="0"/>
                    <a:pt x="972093" y="0"/>
                  </a:cubicBezTo>
                  <a:cubicBezTo>
                    <a:pt x="978608" y="0"/>
                    <a:pt x="985571" y="2372"/>
                    <a:pt x="985571" y="10535"/>
                  </a:cubicBezTo>
                  <a:cubicBezTo>
                    <a:pt x="985571" y="11878"/>
                    <a:pt x="985133" y="15440"/>
                    <a:pt x="984390" y="19145"/>
                  </a:cubicBezTo>
                  <a:lnTo>
                    <a:pt x="963206" y="151286"/>
                  </a:lnTo>
                  <a:close/>
                  <a:moveTo>
                    <a:pt x="1111596" y="886"/>
                  </a:moveTo>
                  <a:cubicBezTo>
                    <a:pt x="1120921" y="886"/>
                    <a:pt x="1124188" y="6972"/>
                    <a:pt x="1124188" y="13659"/>
                  </a:cubicBezTo>
                  <a:cubicBezTo>
                    <a:pt x="1124188" y="22565"/>
                    <a:pt x="1118559" y="30137"/>
                    <a:pt x="1106262" y="30137"/>
                  </a:cubicBezTo>
                  <a:lnTo>
                    <a:pt x="1049541" y="30137"/>
                  </a:lnTo>
                  <a:cubicBezTo>
                    <a:pt x="1047912" y="30137"/>
                    <a:pt x="1047179" y="30585"/>
                    <a:pt x="1047026" y="32214"/>
                  </a:cubicBezTo>
                  <a:lnTo>
                    <a:pt x="1042435" y="62503"/>
                  </a:lnTo>
                  <a:cubicBezTo>
                    <a:pt x="1042140" y="64132"/>
                    <a:pt x="1042435" y="64579"/>
                    <a:pt x="1044064" y="64579"/>
                  </a:cubicBezTo>
                  <a:lnTo>
                    <a:pt x="1092641" y="64579"/>
                  </a:lnTo>
                  <a:cubicBezTo>
                    <a:pt x="1101966" y="64579"/>
                    <a:pt x="1105224" y="70666"/>
                    <a:pt x="1105224" y="77353"/>
                  </a:cubicBezTo>
                  <a:cubicBezTo>
                    <a:pt x="1105224" y="86258"/>
                    <a:pt x="1099604" y="93974"/>
                    <a:pt x="1087307" y="93974"/>
                  </a:cubicBezTo>
                  <a:lnTo>
                    <a:pt x="1039473" y="93974"/>
                  </a:lnTo>
                  <a:cubicBezTo>
                    <a:pt x="1037844" y="93974"/>
                    <a:pt x="1037396" y="94421"/>
                    <a:pt x="1037101" y="96060"/>
                  </a:cubicBezTo>
                  <a:lnTo>
                    <a:pt x="1031472" y="131540"/>
                  </a:lnTo>
                  <a:cubicBezTo>
                    <a:pt x="1031177" y="133169"/>
                    <a:pt x="1031472" y="133617"/>
                    <a:pt x="1033101" y="133617"/>
                  </a:cubicBezTo>
                  <a:lnTo>
                    <a:pt x="1092937" y="133617"/>
                  </a:lnTo>
                  <a:cubicBezTo>
                    <a:pt x="1102262" y="133617"/>
                    <a:pt x="1105519" y="139703"/>
                    <a:pt x="1105519" y="146390"/>
                  </a:cubicBezTo>
                  <a:cubicBezTo>
                    <a:pt x="1105519" y="155296"/>
                    <a:pt x="1099899" y="163011"/>
                    <a:pt x="1087603" y="163011"/>
                  </a:cubicBezTo>
                  <a:lnTo>
                    <a:pt x="1010003" y="163011"/>
                  </a:lnTo>
                  <a:cubicBezTo>
                    <a:pt x="1001116" y="163011"/>
                    <a:pt x="997268" y="158115"/>
                    <a:pt x="998601" y="149209"/>
                  </a:cubicBezTo>
                  <a:lnTo>
                    <a:pt x="1019775" y="14402"/>
                  </a:lnTo>
                  <a:cubicBezTo>
                    <a:pt x="1021109" y="5486"/>
                    <a:pt x="1025995" y="591"/>
                    <a:pt x="1035329" y="591"/>
                  </a:cubicBezTo>
                  <a:lnTo>
                    <a:pt x="1111891" y="591"/>
                  </a:lnTo>
                  <a:lnTo>
                    <a:pt x="1111596" y="886"/>
                  </a:lnTo>
                  <a:close/>
                  <a:moveTo>
                    <a:pt x="1242508" y="12763"/>
                  </a:moveTo>
                  <a:cubicBezTo>
                    <a:pt x="1244137" y="2524"/>
                    <a:pt x="1250652" y="0"/>
                    <a:pt x="1259538" y="0"/>
                  </a:cubicBezTo>
                  <a:cubicBezTo>
                    <a:pt x="1266053" y="0"/>
                    <a:pt x="1273016" y="2372"/>
                    <a:pt x="1273016" y="10535"/>
                  </a:cubicBezTo>
                  <a:cubicBezTo>
                    <a:pt x="1273016" y="11878"/>
                    <a:pt x="1272578" y="15440"/>
                    <a:pt x="1271835" y="19145"/>
                  </a:cubicBezTo>
                  <a:lnTo>
                    <a:pt x="1251547" y="145942"/>
                  </a:lnTo>
                  <a:cubicBezTo>
                    <a:pt x="1249470" y="159744"/>
                    <a:pt x="1242213" y="164049"/>
                    <a:pt x="1233183" y="164049"/>
                  </a:cubicBezTo>
                  <a:cubicBezTo>
                    <a:pt x="1223258" y="164049"/>
                    <a:pt x="1219705" y="160049"/>
                    <a:pt x="1213933" y="146828"/>
                  </a:cubicBezTo>
                  <a:lnTo>
                    <a:pt x="1178833" y="65027"/>
                  </a:lnTo>
                  <a:cubicBezTo>
                    <a:pt x="1178385" y="63694"/>
                    <a:pt x="1177642" y="62503"/>
                    <a:pt x="1176461" y="62503"/>
                  </a:cubicBezTo>
                  <a:cubicBezTo>
                    <a:pt x="1175280" y="62503"/>
                    <a:pt x="1175128" y="64437"/>
                    <a:pt x="1175128" y="65027"/>
                  </a:cubicBezTo>
                  <a:lnTo>
                    <a:pt x="1161355" y="151286"/>
                  </a:lnTo>
                  <a:cubicBezTo>
                    <a:pt x="1159726" y="161525"/>
                    <a:pt x="1153211" y="164049"/>
                    <a:pt x="1144324" y="164049"/>
                  </a:cubicBezTo>
                  <a:cubicBezTo>
                    <a:pt x="1137809" y="164049"/>
                    <a:pt x="1130846" y="161677"/>
                    <a:pt x="1130846" y="153514"/>
                  </a:cubicBezTo>
                  <a:cubicBezTo>
                    <a:pt x="1130846" y="152171"/>
                    <a:pt x="1131294" y="148609"/>
                    <a:pt x="1132037" y="144904"/>
                  </a:cubicBezTo>
                  <a:lnTo>
                    <a:pt x="1152325" y="18107"/>
                  </a:lnTo>
                  <a:cubicBezTo>
                    <a:pt x="1154687" y="3410"/>
                    <a:pt x="1161650" y="0"/>
                    <a:pt x="1170689" y="0"/>
                  </a:cubicBezTo>
                  <a:cubicBezTo>
                    <a:pt x="1180167" y="0"/>
                    <a:pt x="1184158" y="4010"/>
                    <a:pt x="1189939" y="17221"/>
                  </a:cubicBezTo>
                  <a:lnTo>
                    <a:pt x="1225039" y="99022"/>
                  </a:lnTo>
                  <a:cubicBezTo>
                    <a:pt x="1225477" y="100212"/>
                    <a:pt x="1226220" y="101403"/>
                    <a:pt x="1227401" y="101403"/>
                  </a:cubicBezTo>
                  <a:cubicBezTo>
                    <a:pt x="1228592" y="101403"/>
                    <a:pt x="1228735" y="99470"/>
                    <a:pt x="1228735" y="99022"/>
                  </a:cubicBezTo>
                  <a:lnTo>
                    <a:pt x="1242508" y="12763"/>
                  </a:lnTo>
                  <a:close/>
                </a:path>
              </a:pathLst>
            </a:custGeom>
            <a:solidFill>
              <a:srgbClr val="ED3B94"/>
            </a:solidFill>
            <a:ln w="9525" cap="flat">
              <a:noFill/>
              <a:prstDash val="solid"/>
              <a:miter/>
            </a:ln>
          </p:spPr>
          <p:txBody>
            <a:bodyPr rtlCol="0" anchor="ctr"/>
            <a:lstStyle/>
            <a:p>
              <a:endParaRPr lang="en-GB" sz="1800"/>
            </a:p>
          </p:txBody>
        </p:sp>
        <p:sp>
          <p:nvSpPr>
            <p:cNvPr id="51" name="Freeform: Shape 56">
              <a:extLst>
                <a:ext uri="{FF2B5EF4-FFF2-40B4-BE49-F238E27FC236}">
                  <a16:creationId xmlns:a16="http://schemas.microsoft.com/office/drawing/2014/main" id="{9ADE27FC-098F-9DA4-5350-CA96F21FC55B}"/>
                </a:ext>
              </a:extLst>
            </p:cNvPr>
            <p:cNvSpPr/>
            <p:nvPr/>
          </p:nvSpPr>
          <p:spPr>
            <a:xfrm>
              <a:off x="4138526" y="2367086"/>
              <a:ext cx="1305010" cy="554526"/>
            </a:xfrm>
            <a:custGeom>
              <a:avLst/>
              <a:gdLst>
                <a:gd name="connsiteX0" fmla="*/ 51092 w 1305010"/>
                <a:gd name="connsiteY0" fmla="*/ 188404 h 554526"/>
                <a:gd name="connsiteX1" fmla="*/ 103670 w 1305010"/>
                <a:gd name="connsiteY1" fmla="*/ 146685 h 554526"/>
                <a:gd name="connsiteX2" fmla="*/ 148390 w 1305010"/>
                <a:gd name="connsiteY2" fmla="*/ 180537 h 554526"/>
                <a:gd name="connsiteX3" fmla="*/ 145285 w 1305010"/>
                <a:gd name="connsiteY3" fmla="*/ 208893 h 554526"/>
                <a:gd name="connsiteX4" fmla="*/ 98184 w 1305010"/>
                <a:gd name="connsiteY4" fmla="*/ 512807 h 554526"/>
                <a:gd name="connsiteX5" fmla="*/ 44729 w 1305010"/>
                <a:gd name="connsiteY5" fmla="*/ 554527 h 554526"/>
                <a:gd name="connsiteX6" fmla="*/ 0 w 1305010"/>
                <a:gd name="connsiteY6" fmla="*/ 520675 h 554526"/>
                <a:gd name="connsiteX7" fmla="*/ 3115 w 1305010"/>
                <a:gd name="connsiteY7" fmla="*/ 492319 h 554526"/>
                <a:gd name="connsiteX8" fmla="*/ 50949 w 1305010"/>
                <a:gd name="connsiteY8" fmla="*/ 188404 h 554526"/>
                <a:gd name="connsiteX9" fmla="*/ 51092 w 1305010"/>
                <a:gd name="connsiteY9" fmla="*/ 188404 h 554526"/>
                <a:gd name="connsiteX10" fmla="*/ 359578 w 1305010"/>
                <a:gd name="connsiteY10" fmla="*/ 157677 h 554526"/>
                <a:gd name="connsiteX11" fmla="*/ 367427 w 1305010"/>
                <a:gd name="connsiteY11" fmla="*/ 167916 h 554526"/>
                <a:gd name="connsiteX12" fmla="*/ 384753 w 1305010"/>
                <a:gd name="connsiteY12" fmla="*/ 157677 h 554526"/>
                <a:gd name="connsiteX13" fmla="*/ 433473 w 1305010"/>
                <a:gd name="connsiteY13" fmla="*/ 146685 h 554526"/>
                <a:gd name="connsiteX14" fmla="*/ 565423 w 1305010"/>
                <a:gd name="connsiteY14" fmla="*/ 282092 h 554526"/>
                <a:gd name="connsiteX15" fmla="*/ 559203 w 1305010"/>
                <a:gd name="connsiteY15" fmla="*/ 350530 h 554526"/>
                <a:gd name="connsiteX16" fmla="*/ 386524 w 1305010"/>
                <a:gd name="connsiteY16" fmla="*/ 554374 h 554526"/>
                <a:gd name="connsiteX17" fmla="*/ 321374 w 1305010"/>
                <a:gd name="connsiteY17" fmla="*/ 536267 h 554526"/>
                <a:gd name="connsiteX18" fmla="*/ 304924 w 1305010"/>
                <a:gd name="connsiteY18" fmla="*/ 524389 h 554526"/>
                <a:gd name="connsiteX19" fmla="*/ 299447 w 1305010"/>
                <a:gd name="connsiteY19" fmla="*/ 526761 h 554526"/>
                <a:gd name="connsiteX20" fmla="*/ 294704 w 1305010"/>
                <a:gd name="connsiteY20" fmla="*/ 532257 h 554526"/>
                <a:gd name="connsiteX21" fmla="*/ 248355 w 1305010"/>
                <a:gd name="connsiteY21" fmla="*/ 554231 h 554526"/>
                <a:gd name="connsiteX22" fmla="*/ 205111 w 1305010"/>
                <a:gd name="connsiteY22" fmla="*/ 518741 h 554526"/>
                <a:gd name="connsiteX23" fmla="*/ 209112 w 1305010"/>
                <a:gd name="connsiteY23" fmla="*/ 490385 h 554526"/>
                <a:gd name="connsiteX24" fmla="*/ 279749 w 1305010"/>
                <a:gd name="connsiteY24" fmla="*/ 41719 h 554526"/>
                <a:gd name="connsiteX25" fmla="*/ 332327 w 1305010"/>
                <a:gd name="connsiteY25" fmla="*/ 0 h 554526"/>
                <a:gd name="connsiteX26" fmla="*/ 377047 w 1305010"/>
                <a:gd name="connsiteY26" fmla="*/ 33852 h 554526"/>
                <a:gd name="connsiteX27" fmla="*/ 373942 w 1305010"/>
                <a:gd name="connsiteY27" fmla="*/ 62208 h 554526"/>
                <a:gd name="connsiteX28" fmla="*/ 359874 w 1305010"/>
                <a:gd name="connsiteY28" fmla="*/ 157382 h 554526"/>
                <a:gd name="connsiteX29" fmla="*/ 359578 w 1305010"/>
                <a:gd name="connsiteY29" fmla="*/ 157667 h 554526"/>
                <a:gd name="connsiteX30" fmla="*/ 458505 w 1305010"/>
                <a:gd name="connsiteY30" fmla="*/ 350530 h 554526"/>
                <a:gd name="connsiteX31" fmla="*/ 463982 w 1305010"/>
                <a:gd name="connsiteY31" fmla="*/ 294561 h 554526"/>
                <a:gd name="connsiteX32" fmla="*/ 409042 w 1305010"/>
                <a:gd name="connsiteY32" fmla="*/ 240221 h 554526"/>
                <a:gd name="connsiteX33" fmla="*/ 328917 w 1305010"/>
                <a:gd name="connsiteY33" fmla="*/ 350387 h 554526"/>
                <a:gd name="connsiteX34" fmla="*/ 323440 w 1305010"/>
                <a:gd name="connsiteY34" fmla="*/ 404727 h 554526"/>
                <a:gd name="connsiteX35" fmla="*/ 373637 w 1305010"/>
                <a:gd name="connsiteY35" fmla="*/ 460543 h 554526"/>
                <a:gd name="connsiteX36" fmla="*/ 458505 w 1305010"/>
                <a:gd name="connsiteY36" fmla="*/ 350387 h 554526"/>
                <a:gd name="connsiteX37" fmla="*/ 458505 w 1305010"/>
                <a:gd name="connsiteY37" fmla="*/ 350530 h 554526"/>
                <a:gd name="connsiteX38" fmla="*/ 723890 w 1305010"/>
                <a:gd name="connsiteY38" fmla="*/ 409623 h 554526"/>
                <a:gd name="connsiteX39" fmla="*/ 785203 w 1305010"/>
                <a:gd name="connsiteY39" fmla="*/ 460839 h 554526"/>
                <a:gd name="connsiteX40" fmla="*/ 857469 w 1305010"/>
                <a:gd name="connsiteY40" fmla="*/ 444360 h 554526"/>
                <a:gd name="connsiteX41" fmla="*/ 893607 w 1305010"/>
                <a:gd name="connsiteY41" fmla="*/ 430997 h 554526"/>
                <a:gd name="connsiteX42" fmla="*/ 933593 w 1305010"/>
                <a:gd name="connsiteY42" fmla="*/ 476583 h 554526"/>
                <a:gd name="connsiteX43" fmla="*/ 913152 w 1305010"/>
                <a:gd name="connsiteY43" fmla="*/ 512064 h 554526"/>
                <a:gd name="connsiteX44" fmla="*/ 764019 w 1305010"/>
                <a:gd name="connsiteY44" fmla="*/ 554527 h 554526"/>
                <a:gd name="connsiteX45" fmla="*/ 623478 w 1305010"/>
                <a:gd name="connsiteY45" fmla="*/ 420757 h 554526"/>
                <a:gd name="connsiteX46" fmla="*/ 629698 w 1305010"/>
                <a:gd name="connsiteY46" fmla="*/ 350682 h 554526"/>
                <a:gd name="connsiteX47" fmla="*/ 828294 w 1305010"/>
                <a:gd name="connsiteY47" fmla="*/ 146837 h 554526"/>
                <a:gd name="connsiteX48" fmla="*/ 966464 w 1305010"/>
                <a:gd name="connsiteY48" fmla="*/ 278225 h 554526"/>
                <a:gd name="connsiteX49" fmla="*/ 962473 w 1305010"/>
                <a:gd name="connsiteY49" fmla="*/ 328555 h 554526"/>
                <a:gd name="connsiteX50" fmla="*/ 905894 w 1305010"/>
                <a:gd name="connsiteY50" fmla="*/ 387648 h 554526"/>
                <a:gd name="connsiteX51" fmla="*/ 733958 w 1305010"/>
                <a:gd name="connsiteY51" fmla="*/ 387648 h 554526"/>
                <a:gd name="connsiteX52" fmla="*/ 724481 w 1305010"/>
                <a:gd name="connsiteY52" fmla="*/ 395516 h 554526"/>
                <a:gd name="connsiteX53" fmla="*/ 723738 w 1305010"/>
                <a:gd name="connsiteY53" fmla="*/ 409765 h 554526"/>
                <a:gd name="connsiteX54" fmla="*/ 723890 w 1305010"/>
                <a:gd name="connsiteY54" fmla="*/ 409623 h 554526"/>
                <a:gd name="connsiteX55" fmla="*/ 871537 w 1305010"/>
                <a:gd name="connsiteY55" fmla="*/ 288322 h 554526"/>
                <a:gd name="connsiteX56" fmla="*/ 815702 w 1305010"/>
                <a:gd name="connsiteY56" fmla="*/ 233982 h 554526"/>
                <a:gd name="connsiteX57" fmla="*/ 739588 w 1305010"/>
                <a:gd name="connsiteY57" fmla="*/ 303324 h 554526"/>
                <a:gd name="connsiteX58" fmla="*/ 744322 w 1305010"/>
                <a:gd name="connsiteY58" fmla="*/ 310448 h 554526"/>
                <a:gd name="connsiteX59" fmla="*/ 863689 w 1305010"/>
                <a:gd name="connsiteY59" fmla="*/ 310448 h 554526"/>
                <a:gd name="connsiteX60" fmla="*/ 869909 w 1305010"/>
                <a:gd name="connsiteY60" fmla="*/ 304209 h 554526"/>
                <a:gd name="connsiteX61" fmla="*/ 871537 w 1305010"/>
                <a:gd name="connsiteY61" fmla="*/ 288474 h 554526"/>
                <a:gd name="connsiteX62" fmla="*/ 871537 w 1305010"/>
                <a:gd name="connsiteY62" fmla="*/ 288322 h 554526"/>
                <a:gd name="connsiteX63" fmla="*/ 1171280 w 1305010"/>
                <a:gd name="connsiteY63" fmla="*/ 175041 h 554526"/>
                <a:gd name="connsiteX64" fmla="*/ 1175280 w 1305010"/>
                <a:gd name="connsiteY64" fmla="*/ 179051 h 554526"/>
                <a:gd name="connsiteX65" fmla="*/ 1182386 w 1305010"/>
                <a:gd name="connsiteY65" fmla="*/ 175050 h 554526"/>
                <a:gd name="connsiteX66" fmla="*/ 1251547 w 1305010"/>
                <a:gd name="connsiteY66" fmla="*/ 146685 h 554526"/>
                <a:gd name="connsiteX67" fmla="*/ 1305011 w 1305010"/>
                <a:gd name="connsiteY67" fmla="*/ 188404 h 554526"/>
                <a:gd name="connsiteX68" fmla="*/ 1255548 w 1305010"/>
                <a:gd name="connsiteY68" fmla="*/ 245859 h 554526"/>
                <a:gd name="connsiteX69" fmla="*/ 1221781 w 1305010"/>
                <a:gd name="connsiteY69" fmla="*/ 245116 h 554526"/>
                <a:gd name="connsiteX70" fmla="*/ 1151877 w 1305010"/>
                <a:gd name="connsiteY70" fmla="*/ 313563 h 554526"/>
                <a:gd name="connsiteX71" fmla="*/ 1120483 w 1305010"/>
                <a:gd name="connsiteY71" fmla="*/ 512655 h 554526"/>
                <a:gd name="connsiteX72" fmla="*/ 1067019 w 1305010"/>
                <a:gd name="connsiteY72" fmla="*/ 554374 h 554526"/>
                <a:gd name="connsiteX73" fmla="*/ 1022299 w 1305010"/>
                <a:gd name="connsiteY73" fmla="*/ 520522 h 554526"/>
                <a:gd name="connsiteX74" fmla="*/ 1025404 w 1305010"/>
                <a:gd name="connsiteY74" fmla="*/ 492166 h 554526"/>
                <a:gd name="connsiteX75" fmla="*/ 1073239 w 1305010"/>
                <a:gd name="connsiteY75" fmla="*/ 188262 h 554526"/>
                <a:gd name="connsiteX76" fmla="*/ 1125817 w 1305010"/>
                <a:gd name="connsiteY76" fmla="*/ 146542 h 554526"/>
                <a:gd name="connsiteX77" fmla="*/ 1169060 w 1305010"/>
                <a:gd name="connsiteY77" fmla="*/ 167773 h 554526"/>
                <a:gd name="connsiteX78" fmla="*/ 1171432 w 1305010"/>
                <a:gd name="connsiteY78" fmla="*/ 174898 h 554526"/>
                <a:gd name="connsiteX79" fmla="*/ 1171280 w 1305010"/>
                <a:gd name="connsiteY79" fmla="*/ 175041 h 55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05010" h="554526">
                  <a:moveTo>
                    <a:pt x="51092" y="188404"/>
                  </a:moveTo>
                  <a:cubicBezTo>
                    <a:pt x="56569" y="152181"/>
                    <a:pt x="81001" y="146685"/>
                    <a:pt x="103670" y="146685"/>
                  </a:cubicBezTo>
                  <a:cubicBezTo>
                    <a:pt x="124844" y="146685"/>
                    <a:pt x="148390" y="154553"/>
                    <a:pt x="148390" y="180537"/>
                  </a:cubicBezTo>
                  <a:cubicBezTo>
                    <a:pt x="148390" y="186919"/>
                    <a:pt x="146771" y="198653"/>
                    <a:pt x="145285" y="208893"/>
                  </a:cubicBezTo>
                  <a:lnTo>
                    <a:pt x="98184" y="512807"/>
                  </a:lnTo>
                  <a:cubicBezTo>
                    <a:pt x="92707" y="549031"/>
                    <a:pt x="67532" y="554527"/>
                    <a:pt x="44729" y="554527"/>
                  </a:cubicBezTo>
                  <a:cubicBezTo>
                    <a:pt x="23546" y="554527"/>
                    <a:pt x="0" y="546659"/>
                    <a:pt x="0" y="520675"/>
                  </a:cubicBezTo>
                  <a:cubicBezTo>
                    <a:pt x="0" y="514436"/>
                    <a:pt x="1629" y="502558"/>
                    <a:pt x="3115" y="492319"/>
                  </a:cubicBezTo>
                  <a:lnTo>
                    <a:pt x="50949" y="188404"/>
                  </a:lnTo>
                  <a:lnTo>
                    <a:pt x="51092" y="188404"/>
                  </a:lnTo>
                  <a:close/>
                  <a:moveTo>
                    <a:pt x="359578" y="157677"/>
                  </a:moveTo>
                  <a:cubicBezTo>
                    <a:pt x="357940" y="167173"/>
                    <a:pt x="364312" y="167916"/>
                    <a:pt x="367427" y="167916"/>
                  </a:cubicBezTo>
                  <a:cubicBezTo>
                    <a:pt x="371427" y="167916"/>
                    <a:pt x="375275" y="162430"/>
                    <a:pt x="384753" y="157677"/>
                  </a:cubicBezTo>
                  <a:cubicBezTo>
                    <a:pt x="403555" y="148171"/>
                    <a:pt x="420148" y="146685"/>
                    <a:pt x="433473" y="146685"/>
                  </a:cubicBezTo>
                  <a:cubicBezTo>
                    <a:pt x="519808" y="146685"/>
                    <a:pt x="565423" y="200282"/>
                    <a:pt x="565423" y="282092"/>
                  </a:cubicBezTo>
                  <a:cubicBezTo>
                    <a:pt x="565423" y="304209"/>
                    <a:pt x="563051" y="326184"/>
                    <a:pt x="559203" y="350530"/>
                  </a:cubicBezTo>
                  <a:cubicBezTo>
                    <a:pt x="538772" y="467820"/>
                    <a:pt x="501891" y="554374"/>
                    <a:pt x="386524" y="554374"/>
                  </a:cubicBezTo>
                  <a:cubicBezTo>
                    <a:pt x="362236" y="554374"/>
                    <a:pt x="337804" y="548888"/>
                    <a:pt x="321374" y="536267"/>
                  </a:cubicBezTo>
                  <a:cubicBezTo>
                    <a:pt x="314258" y="530771"/>
                    <a:pt x="308781" y="524389"/>
                    <a:pt x="304924" y="524389"/>
                  </a:cubicBezTo>
                  <a:cubicBezTo>
                    <a:pt x="302829" y="524294"/>
                    <a:pt x="300807" y="525161"/>
                    <a:pt x="299447" y="526761"/>
                  </a:cubicBezTo>
                  <a:lnTo>
                    <a:pt x="294704" y="532257"/>
                  </a:lnTo>
                  <a:cubicBezTo>
                    <a:pt x="283750" y="544878"/>
                    <a:pt x="272796" y="554231"/>
                    <a:pt x="248355" y="554231"/>
                  </a:cubicBezTo>
                  <a:cubicBezTo>
                    <a:pt x="226438" y="554231"/>
                    <a:pt x="205111" y="544725"/>
                    <a:pt x="205111" y="518741"/>
                  </a:cubicBezTo>
                  <a:cubicBezTo>
                    <a:pt x="205111" y="511616"/>
                    <a:pt x="207483" y="499891"/>
                    <a:pt x="209112" y="490385"/>
                  </a:cubicBezTo>
                  <a:lnTo>
                    <a:pt x="279749" y="41719"/>
                  </a:lnTo>
                  <a:cubicBezTo>
                    <a:pt x="285226" y="5496"/>
                    <a:pt x="309515" y="0"/>
                    <a:pt x="332327" y="0"/>
                  </a:cubicBezTo>
                  <a:cubicBezTo>
                    <a:pt x="353501" y="0"/>
                    <a:pt x="377047" y="7868"/>
                    <a:pt x="377047" y="33852"/>
                  </a:cubicBezTo>
                  <a:cubicBezTo>
                    <a:pt x="377047" y="40234"/>
                    <a:pt x="375428" y="51968"/>
                    <a:pt x="373942" y="62208"/>
                  </a:cubicBezTo>
                  <a:lnTo>
                    <a:pt x="359874" y="157382"/>
                  </a:lnTo>
                  <a:lnTo>
                    <a:pt x="359578" y="157667"/>
                  </a:lnTo>
                  <a:close/>
                  <a:moveTo>
                    <a:pt x="458505" y="350530"/>
                  </a:moveTo>
                  <a:cubicBezTo>
                    <a:pt x="461610" y="331680"/>
                    <a:pt x="463982" y="308810"/>
                    <a:pt x="463982" y="294561"/>
                  </a:cubicBezTo>
                  <a:cubicBezTo>
                    <a:pt x="463982" y="263823"/>
                    <a:pt x="452133" y="240221"/>
                    <a:pt x="409042" y="240221"/>
                  </a:cubicBezTo>
                  <a:cubicBezTo>
                    <a:pt x="346243" y="240221"/>
                    <a:pt x="336766" y="300057"/>
                    <a:pt x="328917" y="350387"/>
                  </a:cubicBezTo>
                  <a:cubicBezTo>
                    <a:pt x="326546" y="365379"/>
                    <a:pt x="323440" y="388096"/>
                    <a:pt x="323440" y="404727"/>
                  </a:cubicBezTo>
                  <a:cubicBezTo>
                    <a:pt x="323440" y="436940"/>
                    <a:pt x="335290" y="460543"/>
                    <a:pt x="373637" y="460543"/>
                  </a:cubicBezTo>
                  <a:cubicBezTo>
                    <a:pt x="435693" y="460543"/>
                    <a:pt x="447389" y="421948"/>
                    <a:pt x="458505" y="350387"/>
                  </a:cubicBezTo>
                  <a:lnTo>
                    <a:pt x="458505" y="350530"/>
                  </a:lnTo>
                  <a:close/>
                  <a:moveTo>
                    <a:pt x="723890" y="409623"/>
                  </a:moveTo>
                  <a:cubicBezTo>
                    <a:pt x="723890" y="441836"/>
                    <a:pt x="737216" y="460839"/>
                    <a:pt x="785203" y="460839"/>
                  </a:cubicBezTo>
                  <a:cubicBezTo>
                    <a:pt x="807120" y="460839"/>
                    <a:pt x="837028" y="455352"/>
                    <a:pt x="857469" y="444360"/>
                  </a:cubicBezTo>
                  <a:cubicBezTo>
                    <a:pt x="870795" y="437236"/>
                    <a:pt x="879386" y="430997"/>
                    <a:pt x="893607" y="430997"/>
                  </a:cubicBezTo>
                  <a:cubicBezTo>
                    <a:pt x="917896" y="430997"/>
                    <a:pt x="933593" y="454609"/>
                    <a:pt x="933593" y="476583"/>
                  </a:cubicBezTo>
                  <a:cubicBezTo>
                    <a:pt x="933593" y="489937"/>
                    <a:pt x="928849" y="500929"/>
                    <a:pt x="913152" y="512064"/>
                  </a:cubicBezTo>
                  <a:cubicBezTo>
                    <a:pt x="867689" y="544278"/>
                    <a:pt x="817331" y="554527"/>
                    <a:pt x="764019" y="554527"/>
                  </a:cubicBezTo>
                  <a:cubicBezTo>
                    <a:pt x="666721" y="554527"/>
                    <a:pt x="623478" y="500929"/>
                    <a:pt x="623478" y="420757"/>
                  </a:cubicBezTo>
                  <a:cubicBezTo>
                    <a:pt x="623478" y="401012"/>
                    <a:pt x="625850" y="374285"/>
                    <a:pt x="629698" y="350682"/>
                  </a:cubicBezTo>
                  <a:cubicBezTo>
                    <a:pt x="650138" y="230276"/>
                    <a:pt x="680790" y="146837"/>
                    <a:pt x="828294" y="146837"/>
                  </a:cubicBezTo>
                  <a:cubicBezTo>
                    <a:pt x="915524" y="146837"/>
                    <a:pt x="966464" y="196425"/>
                    <a:pt x="966464" y="278225"/>
                  </a:cubicBezTo>
                  <a:cubicBezTo>
                    <a:pt x="966464" y="293970"/>
                    <a:pt x="965730" y="310448"/>
                    <a:pt x="962473" y="328555"/>
                  </a:cubicBezTo>
                  <a:cubicBezTo>
                    <a:pt x="957729" y="357654"/>
                    <a:pt x="949138" y="387648"/>
                    <a:pt x="905894" y="387648"/>
                  </a:cubicBezTo>
                  <a:lnTo>
                    <a:pt x="733958" y="387648"/>
                  </a:lnTo>
                  <a:cubicBezTo>
                    <a:pt x="729282" y="387553"/>
                    <a:pt x="725243" y="390906"/>
                    <a:pt x="724481" y="395516"/>
                  </a:cubicBezTo>
                  <a:cubicBezTo>
                    <a:pt x="723738" y="400269"/>
                    <a:pt x="723738" y="405022"/>
                    <a:pt x="723738" y="409765"/>
                  </a:cubicBezTo>
                  <a:lnTo>
                    <a:pt x="723890" y="409623"/>
                  </a:lnTo>
                  <a:close/>
                  <a:moveTo>
                    <a:pt x="871537" y="288322"/>
                  </a:moveTo>
                  <a:cubicBezTo>
                    <a:pt x="871537" y="256851"/>
                    <a:pt x="858212" y="233982"/>
                    <a:pt x="815702" y="233982"/>
                  </a:cubicBezTo>
                  <a:cubicBezTo>
                    <a:pt x="766239" y="233982"/>
                    <a:pt x="745808" y="263823"/>
                    <a:pt x="739588" y="303324"/>
                  </a:cubicBezTo>
                  <a:cubicBezTo>
                    <a:pt x="738845" y="308810"/>
                    <a:pt x="741216" y="310448"/>
                    <a:pt x="744322" y="310448"/>
                  </a:cubicBezTo>
                  <a:lnTo>
                    <a:pt x="863689" y="310448"/>
                  </a:lnTo>
                  <a:cubicBezTo>
                    <a:pt x="867689" y="310448"/>
                    <a:pt x="869166" y="308067"/>
                    <a:pt x="869909" y="304209"/>
                  </a:cubicBezTo>
                  <a:cubicBezTo>
                    <a:pt x="870652" y="298714"/>
                    <a:pt x="871537" y="293227"/>
                    <a:pt x="871537" y="288474"/>
                  </a:cubicBezTo>
                  <a:lnTo>
                    <a:pt x="871537" y="288322"/>
                  </a:lnTo>
                  <a:close/>
                  <a:moveTo>
                    <a:pt x="1171280" y="175041"/>
                  </a:moveTo>
                  <a:cubicBezTo>
                    <a:pt x="1172023" y="178165"/>
                    <a:pt x="1173651" y="179051"/>
                    <a:pt x="1175280" y="179051"/>
                  </a:cubicBezTo>
                  <a:cubicBezTo>
                    <a:pt x="1176909" y="179051"/>
                    <a:pt x="1179281" y="177422"/>
                    <a:pt x="1182386" y="175050"/>
                  </a:cubicBezTo>
                  <a:cubicBezTo>
                    <a:pt x="1202827" y="159306"/>
                    <a:pt x="1223258" y="146685"/>
                    <a:pt x="1251547" y="146685"/>
                  </a:cubicBezTo>
                  <a:cubicBezTo>
                    <a:pt x="1286056" y="146685"/>
                    <a:pt x="1305011" y="157677"/>
                    <a:pt x="1305011" y="188404"/>
                  </a:cubicBezTo>
                  <a:cubicBezTo>
                    <a:pt x="1305011" y="213646"/>
                    <a:pt x="1297905" y="245859"/>
                    <a:pt x="1255548" y="245859"/>
                  </a:cubicBezTo>
                  <a:cubicBezTo>
                    <a:pt x="1232745" y="245859"/>
                    <a:pt x="1233630" y="245116"/>
                    <a:pt x="1221781" y="245116"/>
                  </a:cubicBezTo>
                  <a:cubicBezTo>
                    <a:pt x="1202969" y="245116"/>
                    <a:pt x="1162098" y="246755"/>
                    <a:pt x="1151877" y="313563"/>
                  </a:cubicBezTo>
                  <a:lnTo>
                    <a:pt x="1120483" y="512655"/>
                  </a:lnTo>
                  <a:cubicBezTo>
                    <a:pt x="1115006" y="548888"/>
                    <a:pt x="1089831" y="554374"/>
                    <a:pt x="1067019" y="554374"/>
                  </a:cubicBezTo>
                  <a:cubicBezTo>
                    <a:pt x="1045845" y="554374"/>
                    <a:pt x="1022299" y="546506"/>
                    <a:pt x="1022299" y="520522"/>
                  </a:cubicBezTo>
                  <a:cubicBezTo>
                    <a:pt x="1022299" y="514293"/>
                    <a:pt x="1023928" y="502415"/>
                    <a:pt x="1025404" y="492166"/>
                  </a:cubicBezTo>
                  <a:lnTo>
                    <a:pt x="1073239" y="188262"/>
                  </a:lnTo>
                  <a:cubicBezTo>
                    <a:pt x="1078725" y="152029"/>
                    <a:pt x="1103157" y="146542"/>
                    <a:pt x="1125817" y="146542"/>
                  </a:cubicBezTo>
                  <a:cubicBezTo>
                    <a:pt x="1146991" y="146542"/>
                    <a:pt x="1161212" y="151295"/>
                    <a:pt x="1169060" y="167773"/>
                  </a:cubicBezTo>
                  <a:cubicBezTo>
                    <a:pt x="1170689" y="170888"/>
                    <a:pt x="1171432" y="174898"/>
                    <a:pt x="1171432" y="174898"/>
                  </a:cubicBezTo>
                  <a:lnTo>
                    <a:pt x="1171280" y="175041"/>
                  </a:lnTo>
                  <a:close/>
                </a:path>
              </a:pathLst>
            </a:custGeom>
            <a:solidFill>
              <a:srgbClr val="081835"/>
            </a:solidFill>
            <a:ln w="9525" cap="flat">
              <a:noFill/>
              <a:prstDash val="solid"/>
              <a:miter/>
            </a:ln>
          </p:spPr>
          <p:txBody>
            <a:bodyPr rtlCol="0" anchor="ctr"/>
            <a:lstStyle/>
            <a:p>
              <a:endParaRPr lang="en-GB" sz="1800"/>
            </a:p>
          </p:txBody>
        </p:sp>
        <p:sp>
          <p:nvSpPr>
            <p:cNvPr id="52" name="Freeform: Shape 57">
              <a:extLst>
                <a:ext uri="{FF2B5EF4-FFF2-40B4-BE49-F238E27FC236}">
                  <a16:creationId xmlns:a16="http://schemas.microsoft.com/office/drawing/2014/main" id="{27C0155B-9BB4-DCCA-8B38-8209A831876A}"/>
                </a:ext>
              </a:extLst>
            </p:cNvPr>
            <p:cNvSpPr/>
            <p:nvPr/>
          </p:nvSpPr>
          <p:spPr>
            <a:xfrm>
              <a:off x="3700462" y="2370200"/>
              <a:ext cx="612962" cy="551411"/>
            </a:xfrm>
            <a:custGeom>
              <a:avLst/>
              <a:gdLst>
                <a:gd name="connsiteX0" fmla="*/ 562613 w 612962"/>
                <a:gd name="connsiteY0" fmla="*/ 152 h 551411"/>
                <a:gd name="connsiteX1" fmla="*/ 297971 w 612962"/>
                <a:gd name="connsiteY1" fmla="*/ 152 h 551411"/>
                <a:gd name="connsiteX2" fmla="*/ 47092 w 612962"/>
                <a:gd name="connsiteY2" fmla="*/ 214684 h 551411"/>
                <a:gd name="connsiteX3" fmla="*/ 42062 w 612962"/>
                <a:gd name="connsiteY3" fmla="*/ 246612 h 551411"/>
                <a:gd name="connsiteX4" fmla="*/ 4000 w 612962"/>
                <a:gd name="connsiteY4" fmla="*/ 486823 h 551411"/>
                <a:gd name="connsiteX5" fmla="*/ 0 w 612962"/>
                <a:gd name="connsiteY5" fmla="*/ 515922 h 551411"/>
                <a:gd name="connsiteX6" fmla="*/ 45463 w 612962"/>
                <a:gd name="connsiteY6" fmla="*/ 551412 h 551411"/>
                <a:gd name="connsiteX7" fmla="*/ 102775 w 612962"/>
                <a:gd name="connsiteY7" fmla="*/ 508054 h 551411"/>
                <a:gd name="connsiteX8" fmla="*/ 107518 w 612962"/>
                <a:gd name="connsiteY8" fmla="*/ 477326 h 551411"/>
                <a:gd name="connsiteX9" fmla="*/ 108109 w 612962"/>
                <a:gd name="connsiteY9" fmla="*/ 475098 h 551411"/>
                <a:gd name="connsiteX10" fmla="*/ 132398 w 612962"/>
                <a:gd name="connsiteY10" fmla="*/ 320097 h 551411"/>
                <a:gd name="connsiteX11" fmla="*/ 140399 w 612962"/>
                <a:gd name="connsiteY11" fmla="*/ 315201 h 551411"/>
                <a:gd name="connsiteX12" fmla="*/ 287160 w 612962"/>
                <a:gd name="connsiteY12" fmla="*/ 315201 h 551411"/>
                <a:gd name="connsiteX13" fmla="*/ 347577 w 612962"/>
                <a:gd name="connsiteY13" fmla="*/ 259223 h 551411"/>
                <a:gd name="connsiteX14" fmla="*/ 305219 w 612962"/>
                <a:gd name="connsiteY14" fmla="*/ 215884 h 551411"/>
                <a:gd name="connsiteX15" fmla="*/ 149581 w 612962"/>
                <a:gd name="connsiteY15" fmla="*/ 215884 h 551411"/>
                <a:gd name="connsiteX16" fmla="*/ 297971 w 612962"/>
                <a:gd name="connsiteY16" fmla="*/ 100965 h 551411"/>
                <a:gd name="connsiteX17" fmla="*/ 562613 w 612962"/>
                <a:gd name="connsiteY17" fmla="*/ 100965 h 551411"/>
                <a:gd name="connsiteX18" fmla="*/ 612962 w 612962"/>
                <a:gd name="connsiteY18" fmla="*/ 50559 h 551411"/>
                <a:gd name="connsiteX19" fmla="*/ 612962 w 612962"/>
                <a:gd name="connsiteY19" fmla="*/ 50483 h 551411"/>
                <a:gd name="connsiteX20" fmla="*/ 562613 w 612962"/>
                <a:gd name="connsiteY20" fmla="*/ 0 h 551411"/>
                <a:gd name="connsiteX21" fmla="*/ 562613 w 612962"/>
                <a:gd name="connsiteY21" fmla="*/ 152 h 55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962" h="551411">
                  <a:moveTo>
                    <a:pt x="562613" y="152"/>
                  </a:moveTo>
                  <a:lnTo>
                    <a:pt x="297971" y="152"/>
                  </a:lnTo>
                  <a:cubicBezTo>
                    <a:pt x="172526" y="152"/>
                    <a:pt x="66942" y="90278"/>
                    <a:pt x="47092" y="214684"/>
                  </a:cubicBezTo>
                  <a:lnTo>
                    <a:pt x="42062" y="246612"/>
                  </a:lnTo>
                  <a:lnTo>
                    <a:pt x="4000" y="486823"/>
                  </a:lnTo>
                  <a:cubicBezTo>
                    <a:pt x="1629" y="499443"/>
                    <a:pt x="0" y="511178"/>
                    <a:pt x="0" y="515922"/>
                  </a:cubicBezTo>
                  <a:cubicBezTo>
                    <a:pt x="0" y="543544"/>
                    <a:pt x="23546" y="551412"/>
                    <a:pt x="45463" y="551412"/>
                  </a:cubicBezTo>
                  <a:cubicBezTo>
                    <a:pt x="75371" y="551412"/>
                    <a:pt x="97298" y="542801"/>
                    <a:pt x="102775" y="508054"/>
                  </a:cubicBezTo>
                  <a:lnTo>
                    <a:pt x="107518" y="477326"/>
                  </a:lnTo>
                  <a:cubicBezTo>
                    <a:pt x="107661" y="476583"/>
                    <a:pt x="107956" y="475840"/>
                    <a:pt x="108109" y="475098"/>
                  </a:cubicBezTo>
                  <a:lnTo>
                    <a:pt x="132398" y="320097"/>
                  </a:lnTo>
                  <a:cubicBezTo>
                    <a:pt x="133436" y="316535"/>
                    <a:pt x="135798" y="315201"/>
                    <a:pt x="140399" y="315201"/>
                  </a:cubicBezTo>
                  <a:lnTo>
                    <a:pt x="287160" y="315201"/>
                  </a:lnTo>
                  <a:cubicBezTo>
                    <a:pt x="328774" y="315201"/>
                    <a:pt x="347577" y="289217"/>
                    <a:pt x="347577" y="259223"/>
                  </a:cubicBezTo>
                  <a:cubicBezTo>
                    <a:pt x="347577" y="236363"/>
                    <a:pt x="336623" y="215884"/>
                    <a:pt x="305219" y="215884"/>
                  </a:cubicBezTo>
                  <a:lnTo>
                    <a:pt x="149581" y="215884"/>
                  </a:lnTo>
                  <a:cubicBezTo>
                    <a:pt x="167049" y="148476"/>
                    <a:pt x="227181" y="100965"/>
                    <a:pt x="297971" y="100965"/>
                  </a:cubicBezTo>
                  <a:lnTo>
                    <a:pt x="562613" y="100965"/>
                  </a:lnTo>
                  <a:cubicBezTo>
                    <a:pt x="590436" y="100950"/>
                    <a:pt x="612979" y="78381"/>
                    <a:pt x="612962" y="50559"/>
                  </a:cubicBezTo>
                  <a:cubicBezTo>
                    <a:pt x="612962" y="50533"/>
                    <a:pt x="612962" y="50508"/>
                    <a:pt x="612962" y="50483"/>
                  </a:cubicBezTo>
                  <a:cubicBezTo>
                    <a:pt x="612962" y="22574"/>
                    <a:pt x="590455" y="0"/>
                    <a:pt x="562613" y="0"/>
                  </a:cubicBezTo>
                  <a:lnTo>
                    <a:pt x="562613" y="152"/>
                  </a:lnTo>
                  <a:close/>
                </a:path>
              </a:pathLst>
            </a:custGeom>
            <a:solidFill>
              <a:srgbClr val="081835"/>
            </a:solidFill>
            <a:ln w="9525" cap="flat">
              <a:noFill/>
              <a:prstDash val="solid"/>
              <a:miter/>
            </a:ln>
          </p:spPr>
          <p:txBody>
            <a:bodyPr rtlCol="0" anchor="ctr"/>
            <a:lstStyle/>
            <a:p>
              <a:endParaRPr lang="en-GB" sz="1800"/>
            </a:p>
          </p:txBody>
        </p:sp>
        <p:sp>
          <p:nvSpPr>
            <p:cNvPr id="53" name="Freeform: Shape 58">
              <a:extLst>
                <a:ext uri="{FF2B5EF4-FFF2-40B4-BE49-F238E27FC236}">
                  <a16:creationId xmlns:a16="http://schemas.microsoft.com/office/drawing/2014/main" id="{385E5FE1-24B2-9E30-C4B9-26962A91F380}"/>
                </a:ext>
              </a:extLst>
            </p:cNvPr>
            <p:cNvSpPr/>
            <p:nvPr/>
          </p:nvSpPr>
          <p:spPr>
            <a:xfrm>
              <a:off x="3883503" y="1753181"/>
              <a:ext cx="348472" cy="386610"/>
            </a:xfrm>
            <a:custGeom>
              <a:avLst/>
              <a:gdLst>
                <a:gd name="connsiteX0" fmla="*/ 244954 w 348472"/>
                <a:gd name="connsiteY0" fmla="*/ 68590 h 386610"/>
                <a:gd name="connsiteX1" fmla="*/ 220513 w 348472"/>
                <a:gd name="connsiteY1" fmla="*/ 60722 h 386610"/>
                <a:gd name="connsiteX2" fmla="*/ 139360 w 348472"/>
                <a:gd name="connsiteY2" fmla="*/ 30728 h 386610"/>
                <a:gd name="connsiteX3" fmla="*/ 11849 w 348472"/>
                <a:gd name="connsiteY3" fmla="*/ 210674 h 386610"/>
                <a:gd name="connsiteX4" fmla="*/ 0 w 348472"/>
                <a:gd name="connsiteY4" fmla="*/ 310886 h 386610"/>
                <a:gd name="connsiteX5" fmla="*/ 47987 w 348472"/>
                <a:gd name="connsiteY5" fmla="*/ 386610 h 386610"/>
                <a:gd name="connsiteX6" fmla="*/ 44434 w 348472"/>
                <a:gd name="connsiteY6" fmla="*/ 355425 h 386610"/>
                <a:gd name="connsiteX7" fmla="*/ 56283 w 348472"/>
                <a:gd name="connsiteY7" fmla="*/ 255213 h 386610"/>
                <a:gd name="connsiteX8" fmla="*/ 183785 w 348472"/>
                <a:gd name="connsiteY8" fmla="*/ 75276 h 386610"/>
                <a:gd name="connsiteX9" fmla="*/ 264938 w 348472"/>
                <a:gd name="connsiteY9" fmla="*/ 105261 h 386610"/>
                <a:gd name="connsiteX10" fmla="*/ 289379 w 348472"/>
                <a:gd name="connsiteY10" fmla="*/ 113128 h 386610"/>
                <a:gd name="connsiteX11" fmla="*/ 348472 w 348472"/>
                <a:gd name="connsiteY11" fmla="*/ 53150 h 386610"/>
                <a:gd name="connsiteX12" fmla="*/ 328774 w 348472"/>
                <a:gd name="connsiteY12" fmla="*/ 17669 h 386610"/>
                <a:gd name="connsiteX13" fmla="*/ 302857 w 348472"/>
                <a:gd name="connsiteY13" fmla="*/ 0 h 386610"/>
                <a:gd name="connsiteX14" fmla="*/ 304038 w 348472"/>
                <a:gd name="connsiteY14" fmla="*/ 8611 h 386610"/>
                <a:gd name="connsiteX15" fmla="*/ 244954 w 348472"/>
                <a:gd name="connsiteY15" fmla="*/ 68590 h 38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472" h="386610">
                  <a:moveTo>
                    <a:pt x="244954" y="68590"/>
                  </a:moveTo>
                  <a:cubicBezTo>
                    <a:pt x="234001" y="68590"/>
                    <a:pt x="226886" y="65475"/>
                    <a:pt x="220513" y="60722"/>
                  </a:cubicBezTo>
                  <a:cubicBezTo>
                    <a:pt x="190605" y="36224"/>
                    <a:pt x="171650" y="30728"/>
                    <a:pt x="139360" y="30728"/>
                  </a:cubicBezTo>
                  <a:cubicBezTo>
                    <a:pt x="32290" y="30728"/>
                    <a:pt x="25918" y="136589"/>
                    <a:pt x="11849" y="210674"/>
                  </a:cubicBezTo>
                  <a:cubicBezTo>
                    <a:pt x="4001" y="250908"/>
                    <a:pt x="0" y="284169"/>
                    <a:pt x="0" y="310886"/>
                  </a:cubicBezTo>
                  <a:cubicBezTo>
                    <a:pt x="0" y="354235"/>
                    <a:pt x="14373" y="377990"/>
                    <a:pt x="47987" y="386610"/>
                  </a:cubicBezTo>
                  <a:cubicBezTo>
                    <a:pt x="45547" y="376398"/>
                    <a:pt x="44354" y="365926"/>
                    <a:pt x="44434" y="355425"/>
                  </a:cubicBezTo>
                  <a:cubicBezTo>
                    <a:pt x="44434" y="328555"/>
                    <a:pt x="48435" y="295446"/>
                    <a:pt x="56283" y="255213"/>
                  </a:cubicBezTo>
                  <a:cubicBezTo>
                    <a:pt x="70495" y="180985"/>
                    <a:pt x="76714" y="75276"/>
                    <a:pt x="183785" y="75276"/>
                  </a:cubicBezTo>
                  <a:cubicBezTo>
                    <a:pt x="216075" y="75276"/>
                    <a:pt x="235029" y="80762"/>
                    <a:pt x="264938" y="105261"/>
                  </a:cubicBezTo>
                  <a:cubicBezTo>
                    <a:pt x="271167" y="110014"/>
                    <a:pt x="278273" y="113128"/>
                    <a:pt x="289379" y="113128"/>
                  </a:cubicBezTo>
                  <a:cubicBezTo>
                    <a:pt x="320040" y="113128"/>
                    <a:pt x="348472" y="80762"/>
                    <a:pt x="348472" y="53150"/>
                  </a:cubicBezTo>
                  <a:cubicBezTo>
                    <a:pt x="348472" y="37414"/>
                    <a:pt x="339881" y="27908"/>
                    <a:pt x="328774" y="17669"/>
                  </a:cubicBezTo>
                  <a:cubicBezTo>
                    <a:pt x="321221" y="10839"/>
                    <a:pt x="312334" y="5048"/>
                    <a:pt x="302857" y="0"/>
                  </a:cubicBezTo>
                  <a:cubicBezTo>
                    <a:pt x="303447" y="2667"/>
                    <a:pt x="304038" y="5496"/>
                    <a:pt x="304038" y="8611"/>
                  </a:cubicBezTo>
                  <a:cubicBezTo>
                    <a:pt x="304038" y="36233"/>
                    <a:pt x="275749" y="68590"/>
                    <a:pt x="244954" y="68590"/>
                  </a:cubicBezTo>
                  <a:close/>
                </a:path>
              </a:pathLst>
            </a:custGeom>
            <a:solidFill>
              <a:srgbClr val="ED3B94"/>
            </a:solidFill>
            <a:ln w="9525" cap="flat">
              <a:noFill/>
              <a:prstDash val="solid"/>
              <a:miter/>
            </a:ln>
          </p:spPr>
          <p:txBody>
            <a:bodyPr rtlCol="0" anchor="ctr"/>
            <a:lstStyle/>
            <a:p>
              <a:endParaRPr lang="en-GB" sz="1800"/>
            </a:p>
          </p:txBody>
        </p:sp>
        <p:sp>
          <p:nvSpPr>
            <p:cNvPr id="54" name="Freeform: Shape 59">
              <a:extLst>
                <a:ext uri="{FF2B5EF4-FFF2-40B4-BE49-F238E27FC236}">
                  <a16:creationId xmlns:a16="http://schemas.microsoft.com/office/drawing/2014/main" id="{C454BA7F-430D-28AE-8955-382E7D33F1B8}"/>
                </a:ext>
              </a:extLst>
            </p:cNvPr>
            <p:cNvSpPr/>
            <p:nvPr/>
          </p:nvSpPr>
          <p:spPr>
            <a:xfrm>
              <a:off x="4033522" y="2011956"/>
              <a:ext cx="48615" cy="44538"/>
            </a:xfrm>
            <a:custGeom>
              <a:avLst/>
              <a:gdLst>
                <a:gd name="connsiteX0" fmla="*/ 48435 w 48615"/>
                <a:gd name="connsiteY0" fmla="*/ 7125 h 44538"/>
                <a:gd name="connsiteX1" fmla="*/ 42958 w 48615"/>
                <a:gd name="connsiteY1" fmla="*/ 0 h 44538"/>
                <a:gd name="connsiteX2" fmla="*/ 0 w 48615"/>
                <a:gd name="connsiteY2" fmla="*/ 0 h 44538"/>
                <a:gd name="connsiteX3" fmla="*/ 0 w 48615"/>
                <a:gd name="connsiteY3" fmla="*/ 1191 h 44538"/>
                <a:gd name="connsiteX4" fmla="*/ 41767 w 48615"/>
                <a:gd name="connsiteY4" fmla="*/ 44539 h 44538"/>
                <a:gd name="connsiteX5" fmla="*/ 42367 w 48615"/>
                <a:gd name="connsiteY5" fmla="*/ 44539 h 44538"/>
                <a:gd name="connsiteX6" fmla="*/ 43844 w 48615"/>
                <a:gd name="connsiteY6" fmla="*/ 37109 h 44538"/>
                <a:gd name="connsiteX7" fmla="*/ 48587 w 48615"/>
                <a:gd name="connsiteY7" fmla="*/ 7125 h 44538"/>
                <a:gd name="connsiteX8" fmla="*/ 48435 w 48615"/>
                <a:gd name="connsiteY8" fmla="*/ 7125 h 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15" h="44538">
                  <a:moveTo>
                    <a:pt x="48435" y="7125"/>
                  </a:moveTo>
                  <a:cubicBezTo>
                    <a:pt x="49178" y="1638"/>
                    <a:pt x="47692" y="0"/>
                    <a:pt x="42958" y="0"/>
                  </a:cubicBezTo>
                  <a:lnTo>
                    <a:pt x="0" y="0"/>
                  </a:lnTo>
                  <a:lnTo>
                    <a:pt x="0" y="1191"/>
                  </a:lnTo>
                  <a:cubicBezTo>
                    <a:pt x="0" y="24051"/>
                    <a:pt x="10963" y="44539"/>
                    <a:pt x="41767" y="44539"/>
                  </a:cubicBezTo>
                  <a:lnTo>
                    <a:pt x="42367" y="44539"/>
                  </a:lnTo>
                  <a:cubicBezTo>
                    <a:pt x="42958" y="42015"/>
                    <a:pt x="43396" y="39643"/>
                    <a:pt x="43844" y="37109"/>
                  </a:cubicBezTo>
                  <a:lnTo>
                    <a:pt x="48587" y="7125"/>
                  </a:lnTo>
                  <a:lnTo>
                    <a:pt x="48435" y="7125"/>
                  </a:lnTo>
                  <a:close/>
                </a:path>
              </a:pathLst>
            </a:custGeom>
            <a:solidFill>
              <a:srgbClr val="ED3B94"/>
            </a:solidFill>
            <a:ln w="9525" cap="flat">
              <a:noFill/>
              <a:prstDash val="solid"/>
              <a:miter/>
            </a:ln>
          </p:spPr>
          <p:txBody>
            <a:bodyPr rtlCol="0" anchor="ctr"/>
            <a:lstStyle/>
            <a:p>
              <a:endParaRPr lang="en-GB" sz="1800"/>
            </a:p>
          </p:txBody>
        </p:sp>
        <p:sp>
          <p:nvSpPr>
            <p:cNvPr id="55" name="Freeform: Shape 60">
              <a:extLst>
                <a:ext uri="{FF2B5EF4-FFF2-40B4-BE49-F238E27FC236}">
                  <a16:creationId xmlns:a16="http://schemas.microsoft.com/office/drawing/2014/main" id="{943F78DB-6120-5AA1-CC96-3A5960DFB022}"/>
                </a:ext>
              </a:extLst>
            </p:cNvPr>
            <p:cNvSpPr/>
            <p:nvPr/>
          </p:nvSpPr>
          <p:spPr>
            <a:xfrm>
              <a:off x="3843517" y="1783908"/>
              <a:ext cx="721966" cy="502262"/>
            </a:xfrm>
            <a:custGeom>
              <a:avLst/>
              <a:gdLst>
                <a:gd name="connsiteX0" fmla="*/ 359283 w 721966"/>
                <a:gd name="connsiteY0" fmla="*/ 173860 h 502262"/>
                <a:gd name="connsiteX1" fmla="*/ 349063 w 721966"/>
                <a:gd name="connsiteY1" fmla="*/ 173860 h 502262"/>
                <a:gd name="connsiteX2" fmla="*/ 334547 w 721966"/>
                <a:gd name="connsiteY2" fmla="*/ 265909 h 502262"/>
                <a:gd name="connsiteX3" fmla="*/ 106928 w 721966"/>
                <a:gd name="connsiteY3" fmla="*/ 457724 h 502262"/>
                <a:gd name="connsiteX4" fmla="*/ 0 w 721966"/>
                <a:gd name="connsiteY4" fmla="*/ 433969 h 502262"/>
                <a:gd name="connsiteX5" fmla="*/ 151352 w 721966"/>
                <a:gd name="connsiteY5" fmla="*/ 502263 h 502262"/>
                <a:gd name="connsiteX6" fmla="*/ 378981 w 721966"/>
                <a:gd name="connsiteY6" fmla="*/ 310448 h 502262"/>
                <a:gd name="connsiteX7" fmla="*/ 393935 w 721966"/>
                <a:gd name="connsiteY7" fmla="*/ 215722 h 502262"/>
                <a:gd name="connsiteX8" fmla="*/ 359283 w 721966"/>
                <a:gd name="connsiteY8" fmla="*/ 173860 h 502262"/>
                <a:gd name="connsiteX9" fmla="*/ 561575 w 721966"/>
                <a:gd name="connsiteY9" fmla="*/ 224485 h 502262"/>
                <a:gd name="connsiteX10" fmla="*/ 689086 w 721966"/>
                <a:gd name="connsiteY10" fmla="*/ 44548 h 502262"/>
                <a:gd name="connsiteX11" fmla="*/ 721966 w 721966"/>
                <a:gd name="connsiteY11" fmla="*/ 49292 h 502262"/>
                <a:gd name="connsiteX12" fmla="*/ 644662 w 721966"/>
                <a:gd name="connsiteY12" fmla="*/ 0 h 502262"/>
                <a:gd name="connsiteX13" fmla="*/ 517150 w 721966"/>
                <a:gd name="connsiteY13" fmla="*/ 179946 h 502262"/>
                <a:gd name="connsiteX14" fmla="*/ 505301 w 721966"/>
                <a:gd name="connsiteY14" fmla="*/ 280159 h 502262"/>
                <a:gd name="connsiteX15" fmla="*/ 553288 w 721966"/>
                <a:gd name="connsiteY15" fmla="*/ 355883 h 502262"/>
                <a:gd name="connsiteX16" fmla="*/ 549735 w 721966"/>
                <a:gd name="connsiteY16" fmla="*/ 324698 h 502262"/>
                <a:gd name="connsiteX17" fmla="*/ 561575 w 721966"/>
                <a:gd name="connsiteY17" fmla="*/ 224495 h 50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1966" h="502262">
                  <a:moveTo>
                    <a:pt x="359283" y="173860"/>
                  </a:moveTo>
                  <a:lnTo>
                    <a:pt x="349063" y="173860"/>
                  </a:lnTo>
                  <a:lnTo>
                    <a:pt x="334547" y="265909"/>
                  </a:lnTo>
                  <a:cubicBezTo>
                    <a:pt x="314849" y="390620"/>
                    <a:pt x="243173" y="457724"/>
                    <a:pt x="106928" y="457724"/>
                  </a:cubicBezTo>
                  <a:cubicBezTo>
                    <a:pt x="64275" y="457724"/>
                    <a:pt x="28146" y="450294"/>
                    <a:pt x="0" y="433969"/>
                  </a:cubicBezTo>
                  <a:cubicBezTo>
                    <a:pt x="27546" y="482222"/>
                    <a:pt x="80715" y="502263"/>
                    <a:pt x="151352" y="502263"/>
                  </a:cubicBezTo>
                  <a:cubicBezTo>
                    <a:pt x="287607" y="502263"/>
                    <a:pt x="359283" y="435159"/>
                    <a:pt x="378981" y="310448"/>
                  </a:cubicBezTo>
                  <a:lnTo>
                    <a:pt x="393935" y="215722"/>
                  </a:lnTo>
                  <a:cubicBezTo>
                    <a:pt x="398678" y="185738"/>
                    <a:pt x="382086" y="173860"/>
                    <a:pt x="359283" y="173860"/>
                  </a:cubicBezTo>
                  <a:close/>
                  <a:moveTo>
                    <a:pt x="561575" y="224485"/>
                  </a:moveTo>
                  <a:cubicBezTo>
                    <a:pt x="575796" y="150257"/>
                    <a:pt x="582016" y="44548"/>
                    <a:pt x="689086" y="44548"/>
                  </a:cubicBezTo>
                  <a:cubicBezTo>
                    <a:pt x="701373" y="44548"/>
                    <a:pt x="712337" y="46177"/>
                    <a:pt x="721966" y="49292"/>
                  </a:cubicBezTo>
                  <a:cubicBezTo>
                    <a:pt x="712041" y="17383"/>
                    <a:pt x="685533" y="0"/>
                    <a:pt x="644662" y="0"/>
                  </a:cubicBezTo>
                  <a:cubicBezTo>
                    <a:pt x="537591" y="0"/>
                    <a:pt x="531219" y="105861"/>
                    <a:pt x="517150" y="179946"/>
                  </a:cubicBezTo>
                  <a:cubicBezTo>
                    <a:pt x="509302" y="220180"/>
                    <a:pt x="505301" y="253441"/>
                    <a:pt x="505301" y="280159"/>
                  </a:cubicBezTo>
                  <a:cubicBezTo>
                    <a:pt x="505301" y="323517"/>
                    <a:pt x="519665" y="347262"/>
                    <a:pt x="553288" y="355883"/>
                  </a:cubicBezTo>
                  <a:cubicBezTo>
                    <a:pt x="550848" y="345670"/>
                    <a:pt x="549655" y="335198"/>
                    <a:pt x="549735" y="324698"/>
                  </a:cubicBezTo>
                  <a:cubicBezTo>
                    <a:pt x="549735" y="297828"/>
                    <a:pt x="553736" y="264719"/>
                    <a:pt x="561575" y="224495"/>
                  </a:cubicBezTo>
                  <a:close/>
                </a:path>
              </a:pathLst>
            </a:custGeom>
            <a:solidFill>
              <a:srgbClr val="ED3B94"/>
            </a:solidFill>
            <a:ln w="9525" cap="flat">
              <a:noFill/>
              <a:prstDash val="solid"/>
              <a:miter/>
            </a:ln>
          </p:spPr>
          <p:txBody>
            <a:bodyPr rtlCol="0" anchor="ctr"/>
            <a:lstStyle/>
            <a:p>
              <a:endParaRPr lang="en-GB" sz="1800"/>
            </a:p>
          </p:txBody>
        </p:sp>
        <p:sp>
          <p:nvSpPr>
            <p:cNvPr id="56" name="Freeform: Shape 61">
              <a:extLst>
                <a:ext uri="{FF2B5EF4-FFF2-40B4-BE49-F238E27FC236}">
                  <a16:creationId xmlns:a16="http://schemas.microsoft.com/office/drawing/2014/main" id="{41C03F32-E81F-2442-BE49-45C6AC5E789C}"/>
                </a:ext>
              </a:extLst>
            </p:cNvPr>
            <p:cNvSpPr/>
            <p:nvPr/>
          </p:nvSpPr>
          <p:spPr>
            <a:xfrm>
              <a:off x="4308833" y="1754066"/>
              <a:ext cx="411260" cy="532257"/>
            </a:xfrm>
            <a:custGeom>
              <a:avLst/>
              <a:gdLst>
                <a:gd name="connsiteX0" fmla="*/ 345357 w 411260"/>
                <a:gd name="connsiteY0" fmla="*/ 0 h 532257"/>
                <a:gd name="connsiteX1" fmla="*/ 366836 w 411260"/>
                <a:gd name="connsiteY1" fmla="*/ 95317 h 532257"/>
                <a:gd name="connsiteX2" fmla="*/ 356616 w 411260"/>
                <a:gd name="connsiteY2" fmla="*/ 209788 h 532257"/>
                <a:gd name="connsiteX3" fmla="*/ 106928 w 411260"/>
                <a:gd name="connsiteY3" fmla="*/ 487718 h 532257"/>
                <a:gd name="connsiteX4" fmla="*/ 0 w 411260"/>
                <a:gd name="connsiteY4" fmla="*/ 463963 h 532257"/>
                <a:gd name="connsiteX5" fmla="*/ 151352 w 411260"/>
                <a:gd name="connsiteY5" fmla="*/ 532257 h 532257"/>
                <a:gd name="connsiteX6" fmla="*/ 401041 w 411260"/>
                <a:gd name="connsiteY6" fmla="*/ 254327 h 532257"/>
                <a:gd name="connsiteX7" fmla="*/ 411261 w 411260"/>
                <a:gd name="connsiteY7" fmla="*/ 139856 h 532257"/>
                <a:gd name="connsiteX8" fmla="*/ 345357 w 411260"/>
                <a:gd name="connsiteY8" fmla="*/ 0 h 53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260" h="532257">
                  <a:moveTo>
                    <a:pt x="345357" y="0"/>
                  </a:moveTo>
                  <a:cubicBezTo>
                    <a:pt x="359283" y="24355"/>
                    <a:pt x="366836" y="55683"/>
                    <a:pt x="366836" y="95317"/>
                  </a:cubicBezTo>
                  <a:cubicBezTo>
                    <a:pt x="366836" y="127683"/>
                    <a:pt x="362836" y="166430"/>
                    <a:pt x="356616" y="209788"/>
                  </a:cubicBezTo>
                  <a:cubicBezTo>
                    <a:pt x="330698" y="378743"/>
                    <a:pt x="298418" y="487718"/>
                    <a:pt x="106928" y="487718"/>
                  </a:cubicBezTo>
                  <a:cubicBezTo>
                    <a:pt x="64275" y="487718"/>
                    <a:pt x="28137" y="480289"/>
                    <a:pt x="0" y="463963"/>
                  </a:cubicBezTo>
                  <a:cubicBezTo>
                    <a:pt x="27546" y="512216"/>
                    <a:pt x="80715" y="532257"/>
                    <a:pt x="151352" y="532257"/>
                  </a:cubicBezTo>
                  <a:cubicBezTo>
                    <a:pt x="342690" y="532257"/>
                    <a:pt x="374980" y="423291"/>
                    <a:pt x="401041" y="254327"/>
                  </a:cubicBezTo>
                  <a:cubicBezTo>
                    <a:pt x="407413" y="210979"/>
                    <a:pt x="411261" y="172222"/>
                    <a:pt x="411261" y="139856"/>
                  </a:cubicBezTo>
                  <a:cubicBezTo>
                    <a:pt x="411261" y="69342"/>
                    <a:pt x="387563" y="24651"/>
                    <a:pt x="345357" y="0"/>
                  </a:cubicBezTo>
                  <a:close/>
                </a:path>
              </a:pathLst>
            </a:custGeom>
            <a:solidFill>
              <a:srgbClr val="ED3B94"/>
            </a:solidFill>
            <a:ln w="9525" cap="flat">
              <a:noFill/>
              <a:prstDash val="solid"/>
              <a:miter/>
            </a:ln>
          </p:spPr>
          <p:txBody>
            <a:bodyPr rtlCol="0" anchor="ctr"/>
            <a:lstStyle/>
            <a:p>
              <a:endParaRPr lang="en-GB" sz="1800"/>
            </a:p>
          </p:txBody>
        </p:sp>
        <p:sp>
          <p:nvSpPr>
            <p:cNvPr id="57" name="Freeform: Shape 62">
              <a:extLst>
                <a:ext uri="{FF2B5EF4-FFF2-40B4-BE49-F238E27FC236}">
                  <a16:creationId xmlns:a16="http://schemas.microsoft.com/office/drawing/2014/main" id="{1EDC5F1F-433E-5373-2D94-02CB829D9E01}"/>
                </a:ext>
              </a:extLst>
            </p:cNvPr>
            <p:cNvSpPr/>
            <p:nvPr/>
          </p:nvSpPr>
          <p:spPr>
            <a:xfrm>
              <a:off x="3777919" y="1686077"/>
              <a:ext cx="408289" cy="532095"/>
            </a:xfrm>
            <a:custGeom>
              <a:avLst/>
              <a:gdLst>
                <a:gd name="connsiteX0" fmla="*/ 55531 w 408289"/>
                <a:gd name="connsiteY0" fmla="*/ 322317 h 532095"/>
                <a:gd name="connsiteX1" fmla="*/ 305067 w 408289"/>
                <a:gd name="connsiteY1" fmla="*/ 44387 h 532095"/>
                <a:gd name="connsiteX2" fmla="*/ 408289 w 408289"/>
                <a:gd name="connsiteY2" fmla="*/ 67104 h 532095"/>
                <a:gd name="connsiteX3" fmla="*/ 389782 w 408289"/>
                <a:gd name="connsiteY3" fmla="*/ 40234 h 532095"/>
                <a:gd name="connsiteX4" fmla="*/ 260642 w 408289"/>
                <a:gd name="connsiteY4" fmla="*/ 0 h 532095"/>
                <a:gd name="connsiteX5" fmla="*/ 11106 w 408289"/>
                <a:gd name="connsiteY5" fmla="*/ 277778 h 532095"/>
                <a:gd name="connsiteX6" fmla="*/ 0 w 408289"/>
                <a:gd name="connsiteY6" fmla="*/ 393878 h 532095"/>
                <a:gd name="connsiteX7" fmla="*/ 65599 w 408289"/>
                <a:gd name="connsiteY7" fmla="*/ 532095 h 532095"/>
                <a:gd name="connsiteX8" fmla="*/ 44425 w 408289"/>
                <a:gd name="connsiteY8" fmla="*/ 438417 h 532095"/>
                <a:gd name="connsiteX9" fmla="*/ 55531 w 408289"/>
                <a:gd name="connsiteY9" fmla="*/ 322317 h 53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89" h="532095">
                  <a:moveTo>
                    <a:pt x="55531" y="322317"/>
                  </a:moveTo>
                  <a:cubicBezTo>
                    <a:pt x="80705" y="161230"/>
                    <a:pt x="115357" y="44387"/>
                    <a:pt x="305067" y="44387"/>
                  </a:cubicBezTo>
                  <a:cubicBezTo>
                    <a:pt x="338242" y="44387"/>
                    <a:pt x="377190" y="50921"/>
                    <a:pt x="408289" y="67104"/>
                  </a:cubicBezTo>
                  <a:cubicBezTo>
                    <a:pt x="405775" y="56264"/>
                    <a:pt x="398669" y="48397"/>
                    <a:pt x="389782" y="40234"/>
                  </a:cubicBezTo>
                  <a:cubicBezTo>
                    <a:pt x="357492" y="10982"/>
                    <a:pt x="303886" y="0"/>
                    <a:pt x="260642" y="0"/>
                  </a:cubicBezTo>
                  <a:cubicBezTo>
                    <a:pt x="70933" y="-152"/>
                    <a:pt x="36281" y="116691"/>
                    <a:pt x="11106" y="277778"/>
                  </a:cubicBezTo>
                  <a:cubicBezTo>
                    <a:pt x="3991" y="322021"/>
                    <a:pt x="0" y="360626"/>
                    <a:pt x="0" y="393878"/>
                  </a:cubicBezTo>
                  <a:cubicBezTo>
                    <a:pt x="0" y="464106"/>
                    <a:pt x="23984" y="507892"/>
                    <a:pt x="65599" y="532095"/>
                  </a:cubicBezTo>
                  <a:cubicBezTo>
                    <a:pt x="51978" y="508197"/>
                    <a:pt x="44425" y="477469"/>
                    <a:pt x="44425" y="438417"/>
                  </a:cubicBezTo>
                  <a:cubicBezTo>
                    <a:pt x="44425" y="405308"/>
                    <a:pt x="48425" y="366560"/>
                    <a:pt x="55531" y="322317"/>
                  </a:cubicBezTo>
                  <a:close/>
                </a:path>
              </a:pathLst>
            </a:custGeom>
            <a:solidFill>
              <a:srgbClr val="00ADEE"/>
            </a:solidFill>
            <a:ln w="9525" cap="flat">
              <a:noFill/>
              <a:prstDash val="solid"/>
              <a:miter/>
            </a:ln>
          </p:spPr>
          <p:txBody>
            <a:bodyPr rtlCol="0" anchor="ctr"/>
            <a:lstStyle/>
            <a:p>
              <a:endParaRPr lang="en-GB" sz="1800"/>
            </a:p>
          </p:txBody>
        </p:sp>
        <p:sp>
          <p:nvSpPr>
            <p:cNvPr id="58" name="Freeform: Shape 63">
              <a:extLst>
                <a:ext uri="{FF2B5EF4-FFF2-40B4-BE49-F238E27FC236}">
                  <a16:creationId xmlns:a16="http://schemas.microsoft.com/office/drawing/2014/main" id="{F199C9CC-2DB4-2AE9-8E1E-66D273570CF4}"/>
                </a:ext>
              </a:extLst>
            </p:cNvPr>
            <p:cNvSpPr/>
            <p:nvPr/>
          </p:nvSpPr>
          <p:spPr>
            <a:xfrm>
              <a:off x="3931490" y="1913229"/>
              <a:ext cx="262347" cy="275101"/>
            </a:xfrm>
            <a:custGeom>
              <a:avLst/>
              <a:gdLst>
                <a:gd name="connsiteX0" fmla="*/ 157124 w 262347"/>
                <a:gd name="connsiteY0" fmla="*/ 44539 h 275101"/>
                <a:gd name="connsiteX1" fmla="*/ 261090 w 262347"/>
                <a:gd name="connsiteY1" fmla="*/ 44539 h 275101"/>
                <a:gd name="connsiteX2" fmla="*/ 261537 w 262347"/>
                <a:gd name="connsiteY2" fmla="*/ 41872 h 275101"/>
                <a:gd name="connsiteX3" fmla="*/ 226876 w 262347"/>
                <a:gd name="connsiteY3" fmla="*/ 0 h 275101"/>
                <a:gd name="connsiteX4" fmla="*/ 112700 w 262347"/>
                <a:gd name="connsiteY4" fmla="*/ 0 h 275101"/>
                <a:gd name="connsiteX5" fmla="*/ 57607 w 262347"/>
                <a:gd name="connsiteY5" fmla="*/ 55226 h 275101"/>
                <a:gd name="connsiteX6" fmla="*/ 99374 w 262347"/>
                <a:gd name="connsiteY6" fmla="*/ 98584 h 275101"/>
                <a:gd name="connsiteX7" fmla="*/ 102184 w 262347"/>
                <a:gd name="connsiteY7" fmla="*/ 98584 h 275101"/>
                <a:gd name="connsiteX8" fmla="*/ 157277 w 262347"/>
                <a:gd name="connsiteY8" fmla="*/ 44387 h 275101"/>
                <a:gd name="connsiteX9" fmla="*/ 157124 w 262347"/>
                <a:gd name="connsiteY9" fmla="*/ 44539 h 275101"/>
                <a:gd name="connsiteX10" fmla="*/ 79077 w 262347"/>
                <a:gd name="connsiteY10" fmla="*/ 275101 h 275101"/>
                <a:gd name="connsiteX11" fmla="*/ 190148 w 262347"/>
                <a:gd name="connsiteY11" fmla="*/ 180384 h 275101"/>
                <a:gd name="connsiteX12" fmla="*/ 194891 w 262347"/>
                <a:gd name="connsiteY12" fmla="*/ 150390 h 275101"/>
                <a:gd name="connsiteX13" fmla="*/ 189414 w 262347"/>
                <a:gd name="connsiteY13" fmla="*/ 143266 h 275101"/>
                <a:gd name="connsiteX14" fmla="*/ 144247 w 262347"/>
                <a:gd name="connsiteY14" fmla="*/ 143266 h 275101"/>
                <a:gd name="connsiteX15" fmla="*/ 34652 w 262347"/>
                <a:gd name="connsiteY15" fmla="*/ 230562 h 275101"/>
                <a:gd name="connsiteX16" fmla="*/ 0 w 262347"/>
                <a:gd name="connsiteY16" fmla="*/ 226562 h 275101"/>
                <a:gd name="connsiteX17" fmla="*/ 79077 w 262347"/>
                <a:gd name="connsiteY17" fmla="*/ 275101 h 275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2347" h="275101">
                  <a:moveTo>
                    <a:pt x="157124" y="44539"/>
                  </a:moveTo>
                  <a:lnTo>
                    <a:pt x="261090" y="44539"/>
                  </a:lnTo>
                  <a:lnTo>
                    <a:pt x="261537" y="41872"/>
                  </a:lnTo>
                  <a:cubicBezTo>
                    <a:pt x="266271" y="11868"/>
                    <a:pt x="249688" y="0"/>
                    <a:pt x="226876" y="0"/>
                  </a:cubicBezTo>
                  <a:lnTo>
                    <a:pt x="112700" y="0"/>
                  </a:lnTo>
                  <a:cubicBezTo>
                    <a:pt x="76410" y="0"/>
                    <a:pt x="57607" y="25975"/>
                    <a:pt x="57607" y="55226"/>
                  </a:cubicBezTo>
                  <a:cubicBezTo>
                    <a:pt x="57607" y="78086"/>
                    <a:pt x="68561" y="98584"/>
                    <a:pt x="99374" y="98584"/>
                  </a:cubicBezTo>
                  <a:lnTo>
                    <a:pt x="102184" y="98584"/>
                  </a:lnTo>
                  <a:cubicBezTo>
                    <a:pt x="102632" y="69780"/>
                    <a:pt x="121434" y="44387"/>
                    <a:pt x="157277" y="44387"/>
                  </a:cubicBezTo>
                  <a:lnTo>
                    <a:pt x="157124" y="44539"/>
                  </a:lnTo>
                  <a:close/>
                  <a:moveTo>
                    <a:pt x="79077" y="275101"/>
                  </a:moveTo>
                  <a:cubicBezTo>
                    <a:pt x="140541" y="275101"/>
                    <a:pt x="180670" y="238735"/>
                    <a:pt x="190148" y="180384"/>
                  </a:cubicBezTo>
                  <a:lnTo>
                    <a:pt x="194891" y="150390"/>
                  </a:lnTo>
                  <a:cubicBezTo>
                    <a:pt x="195634" y="144904"/>
                    <a:pt x="194148" y="143266"/>
                    <a:pt x="189414" y="143266"/>
                  </a:cubicBezTo>
                  <a:lnTo>
                    <a:pt x="144247" y="143266"/>
                  </a:lnTo>
                  <a:cubicBezTo>
                    <a:pt x="132693" y="197310"/>
                    <a:pt x="93450" y="230562"/>
                    <a:pt x="34652" y="230562"/>
                  </a:cubicBezTo>
                  <a:cubicBezTo>
                    <a:pt x="21174" y="230562"/>
                    <a:pt x="9925" y="229229"/>
                    <a:pt x="0" y="226562"/>
                  </a:cubicBezTo>
                  <a:cubicBezTo>
                    <a:pt x="8287" y="260109"/>
                    <a:pt x="32576" y="275101"/>
                    <a:pt x="79077" y="275101"/>
                  </a:cubicBezTo>
                  <a:close/>
                </a:path>
              </a:pathLst>
            </a:custGeom>
            <a:solidFill>
              <a:srgbClr val="00ADEE"/>
            </a:solidFill>
            <a:ln w="9525" cap="flat">
              <a:noFill/>
              <a:prstDash val="solid"/>
              <a:miter/>
            </a:ln>
          </p:spPr>
          <p:txBody>
            <a:bodyPr rtlCol="0" anchor="ctr"/>
            <a:lstStyle/>
            <a:p>
              <a:endParaRPr lang="en-GB" sz="1800"/>
            </a:p>
          </p:txBody>
        </p:sp>
        <p:sp>
          <p:nvSpPr>
            <p:cNvPr id="59" name="Freeform: Shape 64">
              <a:extLst>
                <a:ext uri="{FF2B5EF4-FFF2-40B4-BE49-F238E27FC236}">
                  <a16:creationId xmlns:a16="http://schemas.microsoft.com/office/drawing/2014/main" id="{1D7F1F44-5462-2E26-E4EB-C64F744692FC}"/>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ED3B94"/>
            </a:solidFill>
            <a:ln w="9525" cap="flat">
              <a:noFill/>
              <a:prstDash val="solid"/>
              <a:miter/>
            </a:ln>
          </p:spPr>
          <p:txBody>
            <a:bodyPr rtlCol="0" anchor="ctr"/>
            <a:lstStyle/>
            <a:p>
              <a:endParaRPr lang="en-GB" sz="1800"/>
            </a:p>
          </p:txBody>
        </p:sp>
        <p:sp>
          <p:nvSpPr>
            <p:cNvPr id="60" name="Freeform: Shape 65">
              <a:extLst>
                <a:ext uri="{FF2B5EF4-FFF2-40B4-BE49-F238E27FC236}">
                  <a16:creationId xmlns:a16="http://schemas.microsoft.com/office/drawing/2014/main" id="{F0D15D62-5F55-A053-D94E-1A24FAD89FB5}"/>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FFFFFF"/>
            </a:solidFill>
            <a:ln w="9525" cap="flat">
              <a:noFill/>
              <a:prstDash val="solid"/>
              <a:miter/>
            </a:ln>
          </p:spPr>
          <p:txBody>
            <a:bodyPr rtlCol="0" anchor="ctr"/>
            <a:lstStyle/>
            <a:p>
              <a:endParaRPr lang="en-GB" sz="1800"/>
            </a:p>
          </p:txBody>
        </p:sp>
        <p:sp>
          <p:nvSpPr>
            <p:cNvPr id="61" name="Freeform: Shape 66">
              <a:extLst>
                <a:ext uri="{FF2B5EF4-FFF2-40B4-BE49-F238E27FC236}">
                  <a16:creationId xmlns:a16="http://schemas.microsoft.com/office/drawing/2014/main" id="{E639C25D-BF75-40C0-BEC7-1364920A806A}"/>
                </a:ext>
              </a:extLst>
            </p:cNvPr>
            <p:cNvSpPr/>
            <p:nvPr/>
          </p:nvSpPr>
          <p:spPr>
            <a:xfrm>
              <a:off x="4243377" y="1685925"/>
              <a:ext cx="410813" cy="532247"/>
            </a:xfrm>
            <a:custGeom>
              <a:avLst/>
              <a:gdLst>
                <a:gd name="connsiteX0" fmla="*/ 55540 w 410813"/>
                <a:gd name="connsiteY0" fmla="*/ 322469 h 532247"/>
                <a:gd name="connsiteX1" fmla="*/ 304333 w 410813"/>
                <a:gd name="connsiteY1" fmla="*/ 44539 h 532247"/>
                <a:gd name="connsiteX2" fmla="*/ 410813 w 410813"/>
                <a:gd name="connsiteY2" fmla="*/ 68142 h 532247"/>
                <a:gd name="connsiteX3" fmla="*/ 259909 w 410813"/>
                <a:gd name="connsiteY3" fmla="*/ 0 h 532247"/>
                <a:gd name="connsiteX4" fmla="*/ 11116 w 410813"/>
                <a:gd name="connsiteY4" fmla="*/ 277930 h 532247"/>
                <a:gd name="connsiteX5" fmla="*/ 0 w 410813"/>
                <a:gd name="connsiteY5" fmla="*/ 394030 h 532247"/>
                <a:gd name="connsiteX6" fmla="*/ 65608 w 410813"/>
                <a:gd name="connsiteY6" fmla="*/ 532248 h 532247"/>
                <a:gd name="connsiteX7" fmla="*/ 44425 w 410813"/>
                <a:gd name="connsiteY7" fmla="*/ 438569 h 532247"/>
                <a:gd name="connsiteX8" fmla="*/ 55540 w 410813"/>
                <a:gd name="connsiteY8" fmla="*/ 322469 h 5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813" h="532247">
                  <a:moveTo>
                    <a:pt x="55540" y="322469"/>
                  </a:moveTo>
                  <a:cubicBezTo>
                    <a:pt x="80715" y="161382"/>
                    <a:pt x="115357" y="44539"/>
                    <a:pt x="304333" y="44539"/>
                  </a:cubicBezTo>
                  <a:cubicBezTo>
                    <a:pt x="347129" y="44539"/>
                    <a:pt x="382972" y="51968"/>
                    <a:pt x="410813" y="68142"/>
                  </a:cubicBezTo>
                  <a:cubicBezTo>
                    <a:pt x="383572" y="20488"/>
                    <a:pt x="331280" y="0"/>
                    <a:pt x="259909" y="0"/>
                  </a:cubicBezTo>
                  <a:cubicBezTo>
                    <a:pt x="70933" y="0"/>
                    <a:pt x="36281" y="116843"/>
                    <a:pt x="11116" y="277930"/>
                  </a:cubicBezTo>
                  <a:cubicBezTo>
                    <a:pt x="4000" y="322174"/>
                    <a:pt x="0" y="360778"/>
                    <a:pt x="0" y="394030"/>
                  </a:cubicBezTo>
                  <a:cubicBezTo>
                    <a:pt x="0" y="464258"/>
                    <a:pt x="23993" y="508044"/>
                    <a:pt x="65608" y="532248"/>
                  </a:cubicBezTo>
                  <a:cubicBezTo>
                    <a:pt x="51987" y="508349"/>
                    <a:pt x="44425" y="477622"/>
                    <a:pt x="44425" y="438569"/>
                  </a:cubicBezTo>
                  <a:cubicBezTo>
                    <a:pt x="44425" y="405460"/>
                    <a:pt x="48425" y="366713"/>
                    <a:pt x="55540" y="322469"/>
                  </a:cubicBezTo>
                  <a:close/>
                </a:path>
              </a:pathLst>
            </a:custGeom>
            <a:solidFill>
              <a:srgbClr val="00ADEE"/>
            </a:solidFill>
            <a:ln w="9525" cap="flat">
              <a:noFill/>
              <a:prstDash val="solid"/>
              <a:miter/>
            </a:ln>
          </p:spPr>
          <p:txBody>
            <a:bodyPr rtlCol="0" anchor="ctr"/>
            <a:lstStyle/>
            <a:p>
              <a:endParaRPr lang="en-GB" sz="1800"/>
            </a:p>
          </p:txBody>
        </p:sp>
        <p:sp>
          <p:nvSpPr>
            <p:cNvPr id="62" name="Freeform: Shape 67">
              <a:extLst>
                <a:ext uri="{FF2B5EF4-FFF2-40B4-BE49-F238E27FC236}">
                  <a16:creationId xmlns:a16="http://schemas.microsoft.com/office/drawing/2014/main" id="{CD91D0E2-1B8B-77A6-A114-E8E51E29A64F}"/>
                </a:ext>
              </a:extLst>
            </p:cNvPr>
            <p:cNvSpPr/>
            <p:nvPr/>
          </p:nvSpPr>
          <p:spPr>
            <a:xfrm>
              <a:off x="4396949" y="1833200"/>
              <a:ext cx="217550" cy="355130"/>
            </a:xfrm>
            <a:custGeom>
              <a:avLst/>
              <a:gdLst>
                <a:gd name="connsiteX0" fmla="*/ 79086 w 217550"/>
                <a:gd name="connsiteY0" fmla="*/ 355130 h 355130"/>
                <a:gd name="connsiteX1" fmla="*/ 206597 w 217550"/>
                <a:gd name="connsiteY1" fmla="*/ 175203 h 355130"/>
                <a:gd name="connsiteX2" fmla="*/ 217551 w 217550"/>
                <a:gd name="connsiteY2" fmla="*/ 75724 h 355130"/>
                <a:gd name="connsiteX3" fmla="*/ 168535 w 217550"/>
                <a:gd name="connsiteY3" fmla="*/ 0 h 355130"/>
                <a:gd name="connsiteX4" fmla="*/ 173126 w 217550"/>
                <a:gd name="connsiteY4" fmla="*/ 31185 h 355130"/>
                <a:gd name="connsiteX5" fmla="*/ 162173 w 217550"/>
                <a:gd name="connsiteY5" fmla="*/ 130654 h 355130"/>
                <a:gd name="connsiteX6" fmla="*/ 34661 w 217550"/>
                <a:gd name="connsiteY6" fmla="*/ 310591 h 355130"/>
                <a:gd name="connsiteX7" fmla="*/ 0 w 217550"/>
                <a:gd name="connsiteY7" fmla="*/ 306591 h 355130"/>
                <a:gd name="connsiteX8" fmla="*/ 79086 w 217550"/>
                <a:gd name="connsiteY8" fmla="*/ 355130 h 35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550" h="355130">
                  <a:moveTo>
                    <a:pt x="79086" y="355130"/>
                  </a:moveTo>
                  <a:cubicBezTo>
                    <a:pt x="177575" y="355130"/>
                    <a:pt x="191643" y="278530"/>
                    <a:pt x="206597" y="175203"/>
                  </a:cubicBezTo>
                  <a:cubicBezTo>
                    <a:pt x="212074" y="135703"/>
                    <a:pt x="217551" y="102594"/>
                    <a:pt x="217551" y="75724"/>
                  </a:cubicBezTo>
                  <a:cubicBezTo>
                    <a:pt x="217551" y="35785"/>
                    <a:pt x="200377" y="9954"/>
                    <a:pt x="168535" y="0"/>
                  </a:cubicBezTo>
                  <a:cubicBezTo>
                    <a:pt x="171345" y="9211"/>
                    <a:pt x="173126" y="19602"/>
                    <a:pt x="173126" y="31185"/>
                  </a:cubicBezTo>
                  <a:cubicBezTo>
                    <a:pt x="173126" y="58045"/>
                    <a:pt x="167650" y="91164"/>
                    <a:pt x="162173" y="130654"/>
                  </a:cubicBezTo>
                  <a:cubicBezTo>
                    <a:pt x="147218" y="234134"/>
                    <a:pt x="132998" y="310591"/>
                    <a:pt x="34661" y="310591"/>
                  </a:cubicBezTo>
                  <a:cubicBezTo>
                    <a:pt x="21184" y="310591"/>
                    <a:pt x="9925" y="309258"/>
                    <a:pt x="0" y="306591"/>
                  </a:cubicBezTo>
                  <a:cubicBezTo>
                    <a:pt x="8296" y="340138"/>
                    <a:pt x="32575" y="355130"/>
                    <a:pt x="79086" y="355130"/>
                  </a:cubicBezTo>
                  <a:close/>
                </a:path>
              </a:pathLst>
            </a:custGeom>
            <a:solidFill>
              <a:srgbClr val="00ADEE"/>
            </a:solidFill>
            <a:ln w="9525" cap="flat">
              <a:noFill/>
              <a:prstDash val="solid"/>
              <a:miter/>
            </a:ln>
          </p:spPr>
          <p:txBody>
            <a:bodyPr rtlCol="0" anchor="ctr"/>
            <a:lstStyle/>
            <a:p>
              <a:endParaRPr lang="en-GB" sz="1800"/>
            </a:p>
          </p:txBody>
        </p:sp>
        <p:sp>
          <p:nvSpPr>
            <p:cNvPr id="63" name="Freeform: Shape 68">
              <a:extLst>
                <a:ext uri="{FF2B5EF4-FFF2-40B4-BE49-F238E27FC236}">
                  <a16:creationId xmlns:a16="http://schemas.microsoft.com/office/drawing/2014/main" id="{0C1FCD74-D410-C0C3-50F5-1B3C3A2C2141}"/>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ED3B94"/>
            </a:solidFill>
            <a:ln w="9525" cap="flat">
              <a:noFill/>
              <a:prstDash val="solid"/>
              <a:miter/>
            </a:ln>
          </p:spPr>
          <p:txBody>
            <a:bodyPr rtlCol="0" anchor="ctr"/>
            <a:lstStyle/>
            <a:p>
              <a:endParaRPr lang="en-GB" sz="1800"/>
            </a:p>
          </p:txBody>
        </p:sp>
        <p:sp>
          <p:nvSpPr>
            <p:cNvPr id="64" name="Freeform: Shape 69">
              <a:extLst>
                <a:ext uri="{FF2B5EF4-FFF2-40B4-BE49-F238E27FC236}">
                  <a16:creationId xmlns:a16="http://schemas.microsoft.com/office/drawing/2014/main" id="{858B1B49-A103-EA13-5024-3400865ADD41}"/>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FFFFFF"/>
            </a:solidFill>
            <a:ln w="9525" cap="flat">
              <a:noFill/>
              <a:prstDash val="solid"/>
              <a:miter/>
            </a:ln>
          </p:spPr>
          <p:txBody>
            <a:bodyPr rtlCol="0" anchor="ctr"/>
            <a:lstStyle/>
            <a:p>
              <a:endParaRPr lang="en-GB" sz="1800"/>
            </a:p>
          </p:txBody>
        </p:sp>
      </p:grpSp>
      <p:grpSp>
        <p:nvGrpSpPr>
          <p:cNvPr id="65" name="Group 64">
            <a:extLst>
              <a:ext uri="{FF2B5EF4-FFF2-40B4-BE49-F238E27FC236}">
                <a16:creationId xmlns:a16="http://schemas.microsoft.com/office/drawing/2014/main" id="{50B0B738-89C7-10D7-AF3A-1FCF929EA567}"/>
              </a:ext>
            </a:extLst>
          </p:cNvPr>
          <p:cNvGrpSpPr/>
          <p:nvPr/>
        </p:nvGrpSpPr>
        <p:grpSpPr>
          <a:xfrm>
            <a:off x="7247469" y="3984063"/>
            <a:ext cx="426530" cy="161253"/>
            <a:chOff x="6399138" y="1794304"/>
            <a:chExt cx="1373876" cy="530467"/>
          </a:xfrm>
        </p:grpSpPr>
        <p:sp>
          <p:nvSpPr>
            <p:cNvPr id="66" name="Freeform: Shape 71">
              <a:extLst>
                <a:ext uri="{FF2B5EF4-FFF2-40B4-BE49-F238E27FC236}">
                  <a16:creationId xmlns:a16="http://schemas.microsoft.com/office/drawing/2014/main" id="{726F58A3-DA8C-7443-6EB8-F02211489E26}"/>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endParaRPr lang="en-GB" sz="1800"/>
            </a:p>
          </p:txBody>
        </p:sp>
        <p:sp>
          <p:nvSpPr>
            <p:cNvPr id="67" name="Freeform: Shape 72">
              <a:extLst>
                <a:ext uri="{FF2B5EF4-FFF2-40B4-BE49-F238E27FC236}">
                  <a16:creationId xmlns:a16="http://schemas.microsoft.com/office/drawing/2014/main" id="{055F04A2-25DB-8162-A477-FF914D7A5256}"/>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endParaRPr lang="en-GB" sz="1800"/>
            </a:p>
          </p:txBody>
        </p:sp>
        <p:sp>
          <p:nvSpPr>
            <p:cNvPr id="68" name="Freeform: Shape 73">
              <a:extLst>
                <a:ext uri="{FF2B5EF4-FFF2-40B4-BE49-F238E27FC236}">
                  <a16:creationId xmlns:a16="http://schemas.microsoft.com/office/drawing/2014/main" id="{A0410D31-4809-C03E-ABC6-BB4E46DC908A}"/>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endParaRPr lang="en-GB" sz="1800"/>
            </a:p>
          </p:txBody>
        </p:sp>
        <p:sp>
          <p:nvSpPr>
            <p:cNvPr id="69" name="Freeform: Shape 74">
              <a:extLst>
                <a:ext uri="{FF2B5EF4-FFF2-40B4-BE49-F238E27FC236}">
                  <a16:creationId xmlns:a16="http://schemas.microsoft.com/office/drawing/2014/main" id="{CFB03005-1EAE-571E-7570-03A3B47DD6F9}"/>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endParaRPr lang="en-GB" sz="1800"/>
            </a:p>
          </p:txBody>
        </p:sp>
      </p:grpSp>
      <p:pic>
        <p:nvPicPr>
          <p:cNvPr id="70" name="Graphic 69">
            <a:extLst>
              <a:ext uri="{FF2B5EF4-FFF2-40B4-BE49-F238E27FC236}">
                <a16:creationId xmlns:a16="http://schemas.microsoft.com/office/drawing/2014/main" id="{49B77F4E-0547-5D44-06D9-C85C6F42E4F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69107" y="3859524"/>
            <a:ext cx="449826" cy="364596"/>
          </a:xfrm>
          <a:prstGeom prst="rect">
            <a:avLst/>
          </a:prstGeom>
        </p:spPr>
      </p:pic>
      <p:cxnSp>
        <p:nvCxnSpPr>
          <p:cNvPr id="71" name="Straight Connector 70">
            <a:extLst>
              <a:ext uri="{FF2B5EF4-FFF2-40B4-BE49-F238E27FC236}">
                <a16:creationId xmlns:a16="http://schemas.microsoft.com/office/drawing/2014/main" id="{778648E4-6C89-6A77-372A-5C8887CD3F43}"/>
              </a:ext>
            </a:extLst>
          </p:cNvPr>
          <p:cNvCxnSpPr>
            <a:cxnSpLocks/>
          </p:cNvCxnSpPr>
          <p:nvPr/>
        </p:nvCxnSpPr>
        <p:spPr>
          <a:xfrm>
            <a:off x="3336579"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A8A79B9-591E-14B7-2004-26CE6A9EB972}"/>
              </a:ext>
            </a:extLst>
          </p:cNvPr>
          <p:cNvCxnSpPr>
            <a:cxnSpLocks/>
          </p:cNvCxnSpPr>
          <p:nvPr/>
        </p:nvCxnSpPr>
        <p:spPr>
          <a:xfrm>
            <a:off x="6215089"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AA2A3D6-BB42-9D6E-C36D-9AD8F29D5986}"/>
              </a:ext>
            </a:extLst>
          </p:cNvPr>
          <p:cNvCxnSpPr>
            <a:cxnSpLocks/>
          </p:cNvCxnSpPr>
          <p:nvPr/>
        </p:nvCxnSpPr>
        <p:spPr>
          <a:xfrm>
            <a:off x="460374"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3F8E514-5D0F-C6F6-9836-D6F7252F6B62}"/>
              </a:ext>
            </a:extLst>
          </p:cNvPr>
          <p:cNvCxnSpPr>
            <a:cxnSpLocks/>
          </p:cNvCxnSpPr>
          <p:nvPr/>
        </p:nvCxnSpPr>
        <p:spPr>
          <a:xfrm>
            <a:off x="3336579"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099A11-E9FE-0373-0EE8-849DD7468C91}"/>
              </a:ext>
            </a:extLst>
          </p:cNvPr>
          <p:cNvCxnSpPr>
            <a:cxnSpLocks/>
          </p:cNvCxnSpPr>
          <p:nvPr/>
        </p:nvCxnSpPr>
        <p:spPr>
          <a:xfrm>
            <a:off x="6215089"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B605EF8-B258-A375-108C-879A6FB14679}"/>
              </a:ext>
            </a:extLst>
          </p:cNvPr>
          <p:cNvSpPr txBox="1"/>
          <p:nvPr/>
        </p:nvSpPr>
        <p:spPr>
          <a:xfrm>
            <a:off x="460375" y="4695824"/>
            <a:ext cx="4137728" cy="447675"/>
          </a:xfrm>
          <a:prstGeom prst="rect">
            <a:avLst/>
          </a:prstGeom>
          <a:noFill/>
        </p:spPr>
        <p:txBody>
          <a:bodyPr wrap="square" lIns="0" tIns="0" rIns="0" bIns="0" anchor="ctr">
            <a:noAutofit/>
          </a:bodyPr>
          <a:lstStyle/>
          <a:p>
            <a:r>
              <a:t>Texte :</a:t>
            </a:r>
          </a:p>
          <a:p>
            <a:r>
              <a:t>Sous réserve que les parties parviennent à un accord final ainsi que des approbations réglementaires et antitrust</a:t>
            </a:r>
          </a:p>
        </p:txBody>
      </p:sp>
      <p:sp>
        <p:nvSpPr>
          <p:cNvPr id="4" name="TextBox 3">
            <a:extLst>
              <a:ext uri="{FF2B5EF4-FFF2-40B4-BE49-F238E27FC236}">
                <a16:creationId xmlns:a16="http://schemas.microsoft.com/office/drawing/2014/main" id="{47E676A9-DFC3-E890-5DE2-CB46713E4B3D}"/>
              </a:ext>
            </a:extLst>
          </p:cNvPr>
          <p:cNvSpPr txBox="1"/>
          <p:nvPr/>
        </p:nvSpPr>
        <p:spPr>
          <a:xfrm>
            <a:off x="7735395" y="3954229"/>
            <a:ext cx="997176" cy="220984"/>
          </a:xfrm>
          <a:prstGeom prst="rect">
            <a:avLst/>
          </a:prstGeom>
        </p:spPr>
        <p:txBody>
          <a:bodyPr vert="horz" wrap="square" lIns="0" tIns="0" rIns="0" bIns="0" numCol="1" spcCol="0" rtlCol="0" anchor="ctr" anchorCtr="0">
            <a:noAutofit/>
          </a:bodyPr>
          <a:lstStyle/>
          <a:p>
            <a:r>
              <a:t>Texte :</a:t>
            </a:r>
          </a:p>
          <a:p>
            <a:r>
              <a:t>+ dans le Sud</a:t>
            </a:r>
          </a:p>
        </p:txBody>
      </p:sp>
    </p:spTree>
    <p:extLst>
      <p:ext uri="{BB962C8B-B14F-4D97-AF65-F5344CB8AC3E}">
        <p14:creationId xmlns:p14="http://schemas.microsoft.com/office/powerpoint/2010/main" val="1521111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CDDD9C5C-3DCB-94FF-CB96-1D1CE122668A}"/>
              </a:ext>
            </a:extLst>
          </p:cNvPr>
          <p:cNvSpPr/>
          <p:nvPr/>
        </p:nvSpPr>
        <p:spPr>
          <a:xfrm>
            <a:off x="460375" y="450850"/>
            <a:ext cx="8221665" cy="4244975"/>
          </a:xfrm>
          <a:prstGeom prst="roundRect">
            <a:avLst>
              <a:gd name="adj" fmla="val 2317"/>
            </a:avLst>
          </a:prstGeom>
          <a:gradFill flip="none" rotWithShape="1">
            <a:gsLst>
              <a:gs pos="0">
                <a:schemeClr val="bg1"/>
              </a:gs>
              <a:gs pos="99000">
                <a:srgbClr val="41C3FF"/>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05213636-45E2-DAB2-F108-E99AAAB14A3D}"/>
              </a:ext>
            </a:extLst>
          </p:cNvPr>
          <p:cNvSpPr>
            <a:spLocks noGrp="1"/>
          </p:cNvSpPr>
          <p:nvPr>
            <p:ph type="title"/>
          </p:nvPr>
        </p:nvSpPr>
        <p:spPr>
          <a:xfrm>
            <a:off x="3935345" y="1221591"/>
            <a:ext cx="3821901" cy="898824"/>
          </a:xfrm>
        </p:spPr>
        <p:txBody>
          <a:bodyPr/>
          <a:lstStyle/>
          <a:p>
            <a:r>
              <a:t>Texte :</a:t>
            </a:r>
          </a:p>
          <a:p>
            <a:r>
              <a:t>Que signifie HFC ?</a:t>
            </a:r>
          </a:p>
        </p:txBody>
      </p:sp>
      <p:sp>
        <p:nvSpPr>
          <p:cNvPr id="4" name="Title 1">
            <a:extLst>
              <a:ext uri="{FF2B5EF4-FFF2-40B4-BE49-F238E27FC236}">
                <a16:creationId xmlns:a16="http://schemas.microsoft.com/office/drawing/2014/main" id="{7E6777C0-FEF5-A488-2ABA-CAA4DE3E27B5}"/>
              </a:ext>
            </a:extLst>
          </p:cNvPr>
          <p:cNvSpPr txBox="1">
            <a:spLocks/>
          </p:cNvSpPr>
          <p:nvPr/>
        </p:nvSpPr>
        <p:spPr>
          <a:xfrm>
            <a:off x="3935345" y="1997673"/>
            <a:ext cx="4031374"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Connectivité demi-fibre</a:t>
            </a:r>
          </a:p>
          <a:p>
            <a:r>
              <a:t>Communication hybride en fibre</a:t>
            </a:r>
          </a:p>
          <a:p>
            <a:r>
              <a:t>Coaxial hybride en fibre</a:t>
            </a:r>
          </a:p>
          <a:p>
            <a:r>
              <a:t>Harmonie, amusement, courage</a:t>
            </a:r>
          </a:p>
        </p:txBody>
      </p:sp>
      <p:grpSp>
        <p:nvGrpSpPr>
          <p:cNvPr id="13" name="Group 12">
            <a:extLst>
              <a:ext uri="{FF2B5EF4-FFF2-40B4-BE49-F238E27FC236}">
                <a16:creationId xmlns:a16="http://schemas.microsoft.com/office/drawing/2014/main" id="{044797D5-D853-423A-06EB-63B2CB8753DC}"/>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C1BA3B7E-81A9-FD3E-65A2-F6B826BE8C87}"/>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9" name="Group 8">
              <a:extLst>
                <a:ext uri="{FF2B5EF4-FFF2-40B4-BE49-F238E27FC236}">
                  <a16:creationId xmlns:a16="http://schemas.microsoft.com/office/drawing/2014/main" id="{C943C788-72ED-8F9C-3D37-0C0B16A083F3}"/>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4035EDD6-56F8-9F12-E983-496FBE49796D}"/>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22813B0E-7E32-7C8C-A74E-B2D2CC4BE867}"/>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2" name="Freeform 11">
                <a:extLst>
                  <a:ext uri="{FF2B5EF4-FFF2-40B4-BE49-F238E27FC236}">
                    <a16:creationId xmlns:a16="http://schemas.microsoft.com/office/drawing/2014/main" id="{61E1A541-AE26-5BEF-481E-4A2486E11931}"/>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5" name="Afbeelding 4">
              <a:extLst>
                <a:ext uri="{FF2B5EF4-FFF2-40B4-BE49-F238E27FC236}">
                  <a16:creationId xmlns:a16="http://schemas.microsoft.com/office/drawing/2014/main" id="{22911268-D445-85AB-7A11-19E64317FF8C}"/>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952131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A5CEF-ED40-9C12-0E07-60E3E7C250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114F65-A483-30C4-D493-B0223490A310}"/>
              </a:ext>
            </a:extLst>
          </p:cNvPr>
          <p:cNvSpPr>
            <a:spLocks noGrp="1"/>
          </p:cNvSpPr>
          <p:nvPr>
            <p:ph type="title"/>
          </p:nvPr>
        </p:nvSpPr>
        <p:spPr>
          <a:xfrm>
            <a:off x="1226989" y="377826"/>
            <a:ext cx="7455051" cy="660092"/>
          </a:xfrm>
        </p:spPr>
        <p:txBody>
          <a:bodyPr anchor="ctr"/>
          <a:lstStyle/>
          <a:p>
            <a:r>
              <a:t>Texte :</a:t>
            </a:r>
          </a:p>
          <a:p>
            <a:r>
              <a:t>Gigabit pour tous en 2025</a:t>
            </a:r>
          </a:p>
        </p:txBody>
      </p:sp>
      <p:sp>
        <p:nvSpPr>
          <p:cNvPr id="39" name="!!OVAL_network">
            <a:extLst>
              <a:ext uri="{FF2B5EF4-FFF2-40B4-BE49-F238E27FC236}">
                <a16:creationId xmlns:a16="http://schemas.microsoft.com/office/drawing/2014/main" id="{25FA8D25-1415-4AAF-3401-6CB4BDE9594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0B2E85C9-73A1-40B2-9CE7-BED2A79695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4" name="Text Placeholder 4">
            <a:extLst>
              <a:ext uri="{FF2B5EF4-FFF2-40B4-BE49-F238E27FC236}">
                <a16:creationId xmlns:a16="http://schemas.microsoft.com/office/drawing/2014/main" id="{3FA7659F-8BE9-5213-5A53-DEB93956556E}"/>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a:t>
            </a:r>
          </a:p>
          <a:p>
            <a:r>
              <a:t>Nous maintenons un rythme élevé dans le déploiement de la fibre</a:t>
            </a:r>
          </a:p>
          <a:p>
            <a:r>
              <a:t>Un total de 476 000 foyers desservis a été atteint en 2024, en 2025 nous visons un total de 354 000 foyers desservis</a:t>
            </a:r>
          </a:p>
        </p:txBody>
      </p:sp>
      <p:sp>
        <p:nvSpPr>
          <p:cNvPr id="6" name="Text Placeholder 4">
            <a:extLst>
              <a:ext uri="{FF2B5EF4-FFF2-40B4-BE49-F238E27FC236}">
                <a16:creationId xmlns:a16="http://schemas.microsoft.com/office/drawing/2014/main" id="{73127CBA-6F20-A513-F9DC-EBBEA394FE45}"/>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2</a:t>
            </a:r>
          </a:p>
          <a:p>
            <a:br/>
            <a:br/>
            <a:r>
              <a:t>Alignement opérationnel et moteur principal de déploiement</a:t>
            </a:r>
          </a:p>
          <a:p>
            <a:r>
              <a:t>Passer d'une approche proactive à une approche réactive pour la connexion domestique et déployer le plus grand volume de domiciles connectés</a:t>
            </a:r>
          </a:p>
        </p:txBody>
      </p:sp>
      <p:pic>
        <p:nvPicPr>
          <p:cNvPr id="7" name="Picture 5" descr="Wij maken Vlaanderen klaar voor internet via fiber">
            <a:extLst>
              <a:ext uri="{FF2B5EF4-FFF2-40B4-BE49-F238E27FC236}">
                <a16:creationId xmlns:a16="http://schemas.microsoft.com/office/drawing/2014/main" id="{505C44E9-5EAF-7788-14B6-7097F7116558}"/>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75333" y="2195973"/>
            <a:ext cx="1342063" cy="37577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a:extLst>
              <a:ext uri="{FF2B5EF4-FFF2-40B4-BE49-F238E27FC236}">
                <a16:creationId xmlns:a16="http://schemas.microsoft.com/office/drawing/2014/main" id="{443EB20C-2BAE-1399-E4E5-B124089B09FA}"/>
              </a:ext>
            </a:extLst>
          </p:cNvPr>
          <p:cNvSpPr txBox="1">
            <a:spLocks/>
          </p:cNvSpPr>
          <p:nvPr/>
        </p:nvSpPr>
        <p:spPr>
          <a:xfrm>
            <a:off x="4684265" y="2749623"/>
            <a:ext cx="1884240" cy="273677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Clôture et signature des accords de collaboration sur la fibre</a:t>
            </a:r>
          </a:p>
        </p:txBody>
      </p:sp>
      <p:sp>
        <p:nvSpPr>
          <p:cNvPr id="9" name="Text Placeholder 4">
            <a:extLst>
              <a:ext uri="{FF2B5EF4-FFF2-40B4-BE49-F238E27FC236}">
                <a16:creationId xmlns:a16="http://schemas.microsoft.com/office/drawing/2014/main" id="{2AE2EBEB-1953-3855-78D6-529ADCDD2E33}"/>
              </a:ext>
            </a:extLst>
          </p:cNvPr>
          <p:cNvSpPr txBox="1">
            <a:spLocks/>
          </p:cNvSpPr>
          <p:nvPr/>
        </p:nvSpPr>
        <p:spPr>
          <a:xfrm>
            <a:off x="6796210" y="1387107"/>
            <a:ext cx="1884240" cy="201605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4</a:t>
            </a:r>
          </a:p>
          <a:p>
            <a:r>
              <a:t>Préparation des équipes, outils et processus</a:t>
            </a:r>
          </a:p>
          <a:p>
            <a:r>
              <a:t>Matérialisation du concept de brise-glace</a:t>
            </a:r>
          </a:p>
        </p:txBody>
      </p:sp>
      <p:sp>
        <p:nvSpPr>
          <p:cNvPr id="10" name="Rounded Rectangle 9">
            <a:extLst>
              <a:ext uri="{FF2B5EF4-FFF2-40B4-BE49-F238E27FC236}">
                <a16:creationId xmlns:a16="http://schemas.microsoft.com/office/drawing/2014/main" id="{21271212-E0FD-0975-19D3-582CEE8B84A3}"/>
              </a:ext>
            </a:extLst>
          </p:cNvPr>
          <p:cNvSpPr/>
          <p:nvPr/>
        </p:nvSpPr>
        <p:spPr>
          <a:xfrm>
            <a:off x="4684265" y="1393460"/>
            <a:ext cx="1884240" cy="1186230"/>
          </a:xfrm>
          <a:prstGeom prst="roundRect">
            <a:avLst>
              <a:gd name="adj" fmla="val 13679"/>
            </a:avLst>
          </a:prstGeom>
          <a:blipFill>
            <a:blip r:embed="rId6"/>
            <a:srcRect/>
            <a:stretch>
              <a:fillRect l="-1" t="-20146" r="-21482" b="-841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040CBA89-CE75-BC3E-A0C6-C120EC74A864}"/>
              </a:ext>
            </a:extLst>
          </p:cNvPr>
          <p:cNvSpPr/>
          <p:nvPr/>
        </p:nvSpPr>
        <p:spPr>
          <a:xfrm>
            <a:off x="6796210" y="3543300"/>
            <a:ext cx="1884240" cy="2016050"/>
          </a:xfrm>
          <a:prstGeom prst="roundRect">
            <a:avLst>
              <a:gd name="adj" fmla="val 11458"/>
            </a:avLst>
          </a:prstGeom>
          <a:blipFill>
            <a:blip r:embed="rId7"/>
            <a:srcRect/>
            <a:stretch>
              <a:fillRect l="-19183" r="-19183" b="13760"/>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4158682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BB065-D486-B6EA-9005-FC8204C4C498}"/>
            </a:ext>
          </a:extLst>
        </p:cNvPr>
        <p:cNvGrpSpPr/>
        <p:nvPr/>
      </p:nvGrpSpPr>
      <p:grpSpPr>
        <a:xfrm>
          <a:off x="0" y="0"/>
          <a:ext cx="0" cy="0"/>
          <a:chOff x="0" y="0"/>
          <a:chExt cx="0" cy="0"/>
        </a:xfrm>
      </p:grpSpPr>
      <p:pic>
        <p:nvPicPr>
          <p:cNvPr id="16" name="Picture 15" descr="A tall metal tower with a crane&#10;&#10;Description automatically generated">
            <a:extLst>
              <a:ext uri="{FF2B5EF4-FFF2-40B4-BE49-F238E27FC236}">
                <a16:creationId xmlns:a16="http://schemas.microsoft.com/office/drawing/2014/main" id="{A6CC8AAA-669E-B61A-49C8-E79C0917791C}"/>
              </a:ext>
            </a:extLst>
          </p:cNvPr>
          <p:cNvPicPr>
            <a:picLocks noChangeAspect="1"/>
          </p:cNvPicPr>
          <p:nvPr/>
        </p:nvPicPr>
        <p:blipFill rotWithShape="1">
          <a:blip r:embed="rId3"/>
          <a:srcRect t="5440" b="15846"/>
          <a:stretch/>
        </p:blipFill>
        <p:spPr>
          <a:xfrm>
            <a:off x="4572002" y="383872"/>
            <a:ext cx="4108450" cy="4311954"/>
          </a:xfrm>
          <a:prstGeom prst="roundRect">
            <a:avLst>
              <a:gd name="adj" fmla="val 4637"/>
            </a:avLst>
          </a:prstGeom>
        </p:spPr>
      </p:pic>
      <p:sp>
        <p:nvSpPr>
          <p:cNvPr id="2" name="Title 1">
            <a:extLst>
              <a:ext uri="{FF2B5EF4-FFF2-40B4-BE49-F238E27FC236}">
                <a16:creationId xmlns:a16="http://schemas.microsoft.com/office/drawing/2014/main" id="{5A4A605C-C4A3-9164-972B-4D625499DAA5}"/>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a:t>
            </a:r>
          </a:p>
          <a:p>
            <a:r>
              <a:t>Leadership mobile</a:t>
            </a:r>
          </a:p>
        </p:txBody>
      </p:sp>
      <p:sp>
        <p:nvSpPr>
          <p:cNvPr id="39" name="!!OVAL_network">
            <a:extLst>
              <a:ext uri="{FF2B5EF4-FFF2-40B4-BE49-F238E27FC236}">
                <a16:creationId xmlns:a16="http://schemas.microsoft.com/office/drawing/2014/main" id="{BE1A9000-5FAF-1778-01D1-5764A260C911}"/>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267879DF-B556-825E-5486-5C95818AE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868" y="514469"/>
            <a:ext cx="285017" cy="386809"/>
          </a:xfrm>
          <a:prstGeom prst="rect">
            <a:avLst/>
          </a:prstGeom>
        </p:spPr>
      </p:pic>
      <p:sp>
        <p:nvSpPr>
          <p:cNvPr id="5" name="TextBox 4">
            <a:extLst>
              <a:ext uri="{FF2B5EF4-FFF2-40B4-BE49-F238E27FC236}">
                <a16:creationId xmlns:a16="http://schemas.microsoft.com/office/drawing/2014/main" id="{66F5D826-DC70-5B2C-A8AD-04F1011E749B}"/>
              </a:ext>
            </a:extLst>
          </p:cNvPr>
          <p:cNvSpPr txBox="1"/>
          <p:nvPr/>
        </p:nvSpPr>
        <p:spPr>
          <a:xfrm>
            <a:off x="460375" y="1038225"/>
            <a:ext cx="4111626" cy="3657600"/>
          </a:xfrm>
          <a:prstGeom prst="rect">
            <a:avLst/>
          </a:prstGeom>
        </p:spPr>
        <p:txBody>
          <a:bodyPr vert="horz" wrap="square" lIns="0" tIns="0" rIns="0" bIns="0" numCol="1" spcCol="0" rtlCol="0" anchor="ctr" anchorCtr="0">
            <a:noAutofit/>
          </a:bodyP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Revendiquer le réseau le plus rapide &amp; exceller dans l'expérience client</a:t>
            </a:r>
          </a:p>
        </p:txBody>
      </p:sp>
    </p:spTree>
    <p:extLst>
      <p:ext uri="{BB962C8B-B14F-4D97-AF65-F5344CB8AC3E}">
        <p14:creationId xmlns:p14="http://schemas.microsoft.com/office/powerpoint/2010/main" val="426214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ECC35D4-C368-1E64-3E5F-4E5FC51729E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4A9B1B75-8558-8138-7662-DDBC7337CD05}"/>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Bienvenue</a:t>
            </a:r>
          </a:p>
        </p:txBody>
      </p:sp>
      <p:sp>
        <p:nvSpPr>
          <p:cNvPr id="2" name="TextBox 1">
            <a:extLst>
              <a:ext uri="{FF2B5EF4-FFF2-40B4-BE49-F238E27FC236}">
                <a16:creationId xmlns:a16="http://schemas.microsoft.com/office/drawing/2014/main" id="{9CE51A23-0AA9-0C16-BA5E-1071A964897E}"/>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619438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FBD5D-0471-6708-C65B-077D618356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85391B-6066-9C95-59B1-6AE0166A26D1}"/>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a:t>
            </a:r>
          </a:p>
          <a:p>
            <a:r>
              <a:t>Leadership mobile</a:t>
            </a:r>
          </a:p>
        </p:txBody>
      </p:sp>
      <p:sp>
        <p:nvSpPr>
          <p:cNvPr id="39" name="!!OVAL_network">
            <a:extLst>
              <a:ext uri="{FF2B5EF4-FFF2-40B4-BE49-F238E27FC236}">
                <a16:creationId xmlns:a16="http://schemas.microsoft.com/office/drawing/2014/main" id="{483F5B93-8273-D3E4-1B8A-FDE8981855E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1F293004-7C22-AAF0-352A-76127E610F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868" y="514469"/>
            <a:ext cx="285017" cy="386809"/>
          </a:xfrm>
          <a:prstGeom prst="rect">
            <a:avLst/>
          </a:prstGeom>
        </p:spPr>
      </p:pic>
      <p:pic>
        <p:nvPicPr>
          <p:cNvPr id="4" name="Picture 3">
            <a:extLst>
              <a:ext uri="{FF2B5EF4-FFF2-40B4-BE49-F238E27FC236}">
                <a16:creationId xmlns:a16="http://schemas.microsoft.com/office/drawing/2014/main" id="{88DFE028-6FCE-772F-D465-452F7D583FA8}"/>
              </a:ext>
            </a:extLst>
          </p:cNvPr>
          <p:cNvPicPr>
            <a:picLocks noChangeAspect="1"/>
          </p:cNvPicPr>
          <p:nvPr/>
        </p:nvPicPr>
        <p:blipFill>
          <a:blip r:embed="rId5"/>
          <a:stretch>
            <a:fillRect/>
          </a:stretch>
        </p:blipFill>
        <p:spPr>
          <a:xfrm>
            <a:off x="460376" y="1210805"/>
            <a:ext cx="3672295" cy="3001984"/>
          </a:xfrm>
          <a:prstGeom prst="rect">
            <a:avLst/>
          </a:prstGeom>
        </p:spPr>
      </p:pic>
      <p:pic>
        <p:nvPicPr>
          <p:cNvPr id="6" name="Graphic 5">
            <a:extLst>
              <a:ext uri="{FF2B5EF4-FFF2-40B4-BE49-F238E27FC236}">
                <a16:creationId xmlns:a16="http://schemas.microsoft.com/office/drawing/2014/main" id="{E233754A-3362-4896-B030-C999E87268A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971834" y="2197704"/>
            <a:ext cx="881302" cy="514092"/>
          </a:xfrm>
          <a:prstGeom prst="rect">
            <a:avLst/>
          </a:prstGeom>
        </p:spPr>
      </p:pic>
      <p:sp>
        <p:nvSpPr>
          <p:cNvPr id="8" name="TextBox 7">
            <a:extLst>
              <a:ext uri="{FF2B5EF4-FFF2-40B4-BE49-F238E27FC236}">
                <a16:creationId xmlns:a16="http://schemas.microsoft.com/office/drawing/2014/main" id="{24F49550-F095-3E28-39F2-62B63DF0AB74}"/>
              </a:ext>
            </a:extLst>
          </p:cNvPr>
          <p:cNvSpPr txBox="1"/>
          <p:nvPr/>
        </p:nvSpPr>
        <p:spPr>
          <a:xfrm>
            <a:off x="460375" y="3458375"/>
            <a:ext cx="2217512" cy="754891"/>
          </a:xfrm>
          <a:prstGeom prst="rect">
            <a:avLst/>
          </a:prstGeom>
          <a:noFill/>
        </p:spPr>
        <p:txBody>
          <a:bodyPr wrap="square" lIns="0" tIns="0" rIns="0" bIns="0" anchor="b">
            <a:noAutofit/>
          </a:bodyP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D'ici 2026 :</a:t>
            </a:r>
          </a:p>
          <a:p>
            <a:r>
              <a:t>~ 98 % en intérieur</a:t>
            </a:r>
          </a:p>
          <a:p>
            <a:r>
              <a:t>~ 100 % en extérieur</a:t>
            </a:r>
          </a:p>
        </p:txBody>
      </p:sp>
      <p:grpSp>
        <p:nvGrpSpPr>
          <p:cNvPr id="23" name="Group 22">
            <a:extLst>
              <a:ext uri="{FF2B5EF4-FFF2-40B4-BE49-F238E27FC236}">
                <a16:creationId xmlns:a16="http://schemas.microsoft.com/office/drawing/2014/main" id="{22DCC68B-1217-847F-AA7C-1F9965E0943E}"/>
              </a:ext>
            </a:extLst>
          </p:cNvPr>
          <p:cNvGrpSpPr/>
          <p:nvPr/>
        </p:nvGrpSpPr>
        <p:grpSpPr>
          <a:xfrm>
            <a:off x="6689097" y="1617879"/>
            <a:ext cx="1991354" cy="2755322"/>
            <a:chOff x="6689096" y="2169846"/>
            <a:chExt cx="1991354" cy="2755322"/>
          </a:xfrm>
        </p:grpSpPr>
        <p:sp>
          <p:nvSpPr>
            <p:cNvPr id="18" name="Text Placeholder 4">
              <a:extLst>
                <a:ext uri="{FF2B5EF4-FFF2-40B4-BE49-F238E27FC236}">
                  <a16:creationId xmlns:a16="http://schemas.microsoft.com/office/drawing/2014/main" id="{9041FDF8-BEEC-FFE6-BEAF-00D5B8943E36}"/>
                </a:ext>
              </a:extLst>
            </p:cNvPr>
            <p:cNvSpPr txBox="1">
              <a:spLocks/>
            </p:cNvSpPr>
            <p:nvPr/>
          </p:nvSpPr>
          <p:spPr>
            <a:xfrm>
              <a:off x="6689096" y="2169846"/>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b="1">
                  <a:solidFill>
                    <a:srgbClr val="141C24"/>
                  </a:solidFill>
                  <a:latin typeface="Proximus ExtraBold" pitchFamily="2" charset="77"/>
                </a:rPr>
                <a:t>Simplify, modernize and automate </a:t>
              </a:r>
              <a:r>
                <a:rPr lang="en-US" sz="1200" b="1">
                  <a:solidFill>
                    <a:srgbClr val="141C24"/>
                  </a:solidFill>
                  <a:latin typeface="Proximus Bold" panose="00000500000000000000" pitchFamily="2" charset="0"/>
                </a:rPr>
                <a:t>mobile network </a:t>
              </a:r>
              <a:r>
                <a:rPr lang="en-US" sz="1200">
                  <a:solidFill>
                    <a:srgbClr val="141C24"/>
                  </a:solidFill>
                  <a:latin typeface="Proximus" panose="00000500000000000000" pitchFamily="2" charset="0"/>
                </a:rPr>
                <a:t>to excel in efficiency</a:t>
              </a:r>
            </a:p>
          </p:txBody>
        </p:sp>
        <p:sp>
          <p:nvSpPr>
            <p:cNvPr id="19" name="Text Placeholder 4">
              <a:extLst>
                <a:ext uri="{FF2B5EF4-FFF2-40B4-BE49-F238E27FC236}">
                  <a16:creationId xmlns:a16="http://schemas.microsoft.com/office/drawing/2014/main" id="{C32A09E1-4DF8-1347-41CD-F2BD2DB04912}"/>
                </a:ext>
              </a:extLst>
            </p:cNvPr>
            <p:cNvSpPr txBox="1">
              <a:spLocks/>
            </p:cNvSpPr>
            <p:nvPr/>
          </p:nvSpPr>
          <p:spPr>
            <a:xfrm>
              <a:off x="6689096" y="3629168"/>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a:solidFill>
                    <a:srgbClr val="141C24"/>
                  </a:solidFill>
                  <a:latin typeface="Proximus Light" pitchFamily="2" charset="77"/>
                </a:rPr>
                <a:t>Implement 5G SA to deploy </a:t>
              </a:r>
              <a:r>
                <a:rPr lang="en-US" sz="1200">
                  <a:solidFill>
                    <a:srgbClr val="141C24"/>
                  </a:solidFill>
                  <a:latin typeface="Proximus ExtraBold" panose="00000900000000000000" pitchFamily="2" charset="0"/>
                </a:rPr>
                <a:t>full innovation potential of 5G</a:t>
              </a:r>
            </a:p>
          </p:txBody>
        </p:sp>
      </p:grpSp>
      <p:sp>
        <p:nvSpPr>
          <p:cNvPr id="20" name="Text Placeholder 4">
            <a:extLst>
              <a:ext uri="{FF2B5EF4-FFF2-40B4-BE49-F238E27FC236}">
                <a16:creationId xmlns:a16="http://schemas.microsoft.com/office/drawing/2014/main" id="{48257BF6-39DB-A403-8531-BA5A352105EF}"/>
              </a:ext>
            </a:extLst>
          </p:cNvPr>
          <p:cNvSpPr txBox="1">
            <a:spLocks/>
          </p:cNvSpPr>
          <p:nvPr/>
        </p:nvSpPr>
        <p:spPr>
          <a:xfrm>
            <a:off x="4556022" y="969879"/>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Offrez la meilleure vitesse et couverture</a:t>
            </a:r>
          </a:p>
        </p:txBody>
      </p:sp>
      <p:sp>
        <p:nvSpPr>
          <p:cNvPr id="24" name="Text Placeholder 4">
            <a:extLst>
              <a:ext uri="{FF2B5EF4-FFF2-40B4-BE49-F238E27FC236}">
                <a16:creationId xmlns:a16="http://schemas.microsoft.com/office/drawing/2014/main" id="{9C603315-1DB1-3449-E7A7-4BA7B6D6623C}"/>
              </a:ext>
            </a:extLst>
          </p:cNvPr>
          <p:cNvSpPr txBox="1">
            <a:spLocks/>
          </p:cNvSpPr>
          <p:nvPr/>
        </p:nvSpPr>
        <p:spPr>
          <a:xfrm>
            <a:off x="4556021" y="2425816"/>
            <a:ext cx="1991354" cy="13779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44000" tIns="180000" rIns="144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Meilleure expérience client</a:t>
            </a:r>
          </a:p>
          <a:p>
            <a:r>
              <a:t>basée sur la couverture, l'optimisation, le leadership en matière de spectre</a:t>
            </a:r>
          </a:p>
        </p:txBody>
      </p:sp>
    </p:spTree>
    <p:extLst>
      <p:ext uri="{BB962C8B-B14F-4D97-AF65-F5344CB8AC3E}">
        <p14:creationId xmlns:p14="http://schemas.microsoft.com/office/powerpoint/2010/main" val="3534903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2BF5F-5413-C846-A6B9-CE4BA873C1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BE44BA-1108-1881-B57C-6B543501728F}"/>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Leadership mobile en 2025</a:t>
            </a:r>
          </a:p>
        </p:txBody>
      </p:sp>
      <p:sp>
        <p:nvSpPr>
          <p:cNvPr id="39" name="!!OVAL_network">
            <a:extLst>
              <a:ext uri="{FF2B5EF4-FFF2-40B4-BE49-F238E27FC236}">
                <a16:creationId xmlns:a16="http://schemas.microsoft.com/office/drawing/2014/main" id="{B59AF520-90FD-59E2-3DD0-F9C7FDC620D2}"/>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D8DB1E6C-CD58-B446-1631-C515ADA7C7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868" y="514469"/>
            <a:ext cx="285017" cy="386809"/>
          </a:xfrm>
          <a:prstGeom prst="rect">
            <a:avLst/>
          </a:prstGeom>
        </p:spPr>
      </p:pic>
      <p:sp>
        <p:nvSpPr>
          <p:cNvPr id="5" name="Text Placeholder 4">
            <a:extLst>
              <a:ext uri="{FF2B5EF4-FFF2-40B4-BE49-F238E27FC236}">
                <a16:creationId xmlns:a16="http://schemas.microsoft.com/office/drawing/2014/main" id="{1F8262CC-5D85-582A-B519-CA06D4B2FB82}"/>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1</a:t>
            </a:r>
          </a:p>
          <a:p>
            <a:r>
              <a:t>Amener Aurora (changer pour Nokia) près de l'achèvement (+1000 sites, &gt; 85% terminé) pour maintenir le leadership en couverture</a:t>
            </a:r>
          </a:p>
          <a:p>
            <a:r>
              <a:t>Déployer davantage le "full 5G" pour conserver un avantage de vitesse</a:t>
            </a:r>
          </a:p>
        </p:txBody>
      </p:sp>
      <p:sp>
        <p:nvSpPr>
          <p:cNvPr id="6" name="Text Placeholder 4">
            <a:extLst>
              <a:ext uri="{FF2B5EF4-FFF2-40B4-BE49-F238E27FC236}">
                <a16:creationId xmlns:a16="http://schemas.microsoft.com/office/drawing/2014/main" id="{EE6C2F5E-DAA8-5293-2D39-2673823743A8}"/>
              </a:ext>
            </a:extLst>
          </p:cNvPr>
          <p:cNvSpPr txBox="1">
            <a:spLocks/>
          </p:cNvSpPr>
          <p:nvPr/>
        </p:nvSpPr>
        <p:spPr>
          <a:xfrm>
            <a:off x="2572320" y="1387107"/>
            <a:ext cx="1884240" cy="244829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2</a:t>
            </a:r>
          </a:p>
          <a:p>
            <a:r>
              <a:t>Désactivation progressive du réseau 3G hérité au 1er semestre 2025 pour simplifier le réseau et réutiliser les ressources pour de nouvelles technologies</a:t>
            </a:r>
          </a:p>
        </p:txBody>
      </p:sp>
      <p:sp>
        <p:nvSpPr>
          <p:cNvPr id="8" name="Text Placeholder 4">
            <a:extLst>
              <a:ext uri="{FF2B5EF4-FFF2-40B4-BE49-F238E27FC236}">
                <a16:creationId xmlns:a16="http://schemas.microsoft.com/office/drawing/2014/main" id="{0A113E97-FF46-AE95-6556-1991DF5C87E6}"/>
              </a:ext>
            </a:extLst>
          </p:cNvPr>
          <p:cNvSpPr txBox="1">
            <a:spLocks/>
          </p:cNvSpPr>
          <p:nvPr/>
        </p:nvSpPr>
        <p:spPr>
          <a:xfrm>
            <a:off x="4684265" y="1393460"/>
            <a:ext cx="1884240" cy="343318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08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 :</a:t>
            </a:r>
          </a:p>
          <a:p>
            <a:r>
              <a:t>3</a:t>
            </a:r>
          </a:p>
          <a:p>
            <a:r>
              <a:t>Soutenir l'augmentation du trafic des clients Proximus &amp; DIGI sans impacter négativement l'expérience des utilisateurs mobiles</a:t>
            </a:r>
          </a:p>
          <a:p>
            <a:r>
              <a:t>Faire évoluer la surveillance du réseau mobile (via Mwingz) vers des outils de données et IT de première classe</a:t>
            </a:r>
          </a:p>
        </p:txBody>
      </p:sp>
      <p:sp>
        <p:nvSpPr>
          <p:cNvPr id="9" name="Text Placeholder 4">
            <a:extLst>
              <a:ext uri="{FF2B5EF4-FFF2-40B4-BE49-F238E27FC236}">
                <a16:creationId xmlns:a16="http://schemas.microsoft.com/office/drawing/2014/main" id="{5BA85B9C-E268-8AB3-14DE-B73339E9DFE8}"/>
              </a:ext>
            </a:extLst>
          </p:cNvPr>
          <p:cNvSpPr txBox="1">
            <a:spLocks/>
          </p:cNvSpPr>
          <p:nvPr/>
        </p:nvSpPr>
        <p:spPr>
          <a:xfrm>
            <a:off x="6796210" y="2746780"/>
            <a:ext cx="1884240" cy="2739620"/>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exte:</a:t>
            </a:r>
          </a:p>
          <a:p>
            <a:r>
              <a:t>4</a:t>
            </a:r>
          </a:p>
          <a:p>
            <a:r>
              <a:t>Compléter la migration CORE et déployer une tranche de service IOT dédiée d'ici le 3ème trimestre 2025 et une SIM 5G d'ici la fin de 2025</a:t>
            </a:r>
          </a:p>
        </p:txBody>
      </p:sp>
      <p:sp>
        <p:nvSpPr>
          <p:cNvPr id="7" name="Rounded Rectangle 6">
            <a:extLst>
              <a:ext uri="{FF2B5EF4-FFF2-40B4-BE49-F238E27FC236}">
                <a16:creationId xmlns:a16="http://schemas.microsoft.com/office/drawing/2014/main" id="{34A2E903-FD18-8633-D21F-A57C645EE1E7}"/>
              </a:ext>
            </a:extLst>
          </p:cNvPr>
          <p:cNvSpPr/>
          <p:nvPr/>
        </p:nvSpPr>
        <p:spPr>
          <a:xfrm>
            <a:off x="6796210" y="377827"/>
            <a:ext cx="1884240" cy="2193924"/>
          </a:xfrm>
          <a:prstGeom prst="roundRect">
            <a:avLst>
              <a:gd name="adj" fmla="val 10110"/>
            </a:avLst>
          </a:prstGeom>
          <a:blipFill>
            <a:blip r:embed="rId5"/>
            <a:srcRect/>
            <a:stretch>
              <a:fillRect t="-7256" b="-7256"/>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err="1">
              <a:solidFill>
                <a:srgbClr val="FFFFFF"/>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1F5BEF83-95A4-66F0-75A4-7D537522C76E}"/>
              </a:ext>
            </a:extLst>
          </p:cNvPr>
          <p:cNvSpPr/>
          <p:nvPr/>
        </p:nvSpPr>
        <p:spPr>
          <a:xfrm>
            <a:off x="2572319" y="4021460"/>
            <a:ext cx="1884240" cy="1400996"/>
          </a:xfrm>
          <a:prstGeom prst="roundRect">
            <a:avLst>
              <a:gd name="adj" fmla="val 13132"/>
            </a:avLst>
          </a:prstGeom>
          <a:blipFill>
            <a:blip r:embed="rId6"/>
            <a:srcRect/>
            <a:stretch>
              <a:fillRect l="-5800" t="-10368" r="-5800" b="1036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err="1">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514410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615B1-CCED-63A1-6186-84907DC1DD5D}"/>
            </a:ext>
          </a:extLst>
        </p:cNvPr>
        <p:cNvGrpSpPr/>
        <p:nvPr/>
      </p:nvGrpSpPr>
      <p:grpSpPr>
        <a:xfrm>
          <a:off x="0" y="0"/>
          <a:ext cx="0" cy="0"/>
          <a:chOff x="0" y="0"/>
          <a:chExt cx="0" cy="0"/>
        </a:xfrm>
      </p:grpSpPr>
      <p:pic>
        <p:nvPicPr>
          <p:cNvPr id="9" name="Picture 8" descr="A person sitting on a wooden floor&#10;&#10;Description automatically generated">
            <a:extLst>
              <a:ext uri="{FF2B5EF4-FFF2-40B4-BE49-F238E27FC236}">
                <a16:creationId xmlns:a16="http://schemas.microsoft.com/office/drawing/2014/main" id="{62F226CC-2598-ABEB-A15E-F431DFA4D60E}"/>
              </a:ext>
            </a:extLst>
          </p:cNvPr>
          <p:cNvPicPr>
            <a:picLocks noChangeAspect="1"/>
          </p:cNvPicPr>
          <p:nvPr/>
        </p:nvPicPr>
        <p:blipFill>
          <a:blip r:embed="rId3"/>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79959609-829B-95CB-3162-62160A2051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3876621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72CF2-F201-6FE6-AC00-DD462742E391}"/>
            </a:ext>
          </a:extLst>
        </p:cNvPr>
        <p:cNvGrpSpPr/>
        <p:nvPr/>
      </p:nvGrpSpPr>
      <p:grpSpPr>
        <a:xfrm>
          <a:off x="0" y="0"/>
          <a:ext cx="0" cy="0"/>
          <a:chOff x="0" y="0"/>
          <a:chExt cx="0" cy="0"/>
        </a:xfrm>
      </p:grpSpPr>
      <p:sp>
        <p:nvSpPr>
          <p:cNvPr id="15" name="Text Placeholder 4">
            <a:extLst>
              <a:ext uri="{FF2B5EF4-FFF2-40B4-BE49-F238E27FC236}">
                <a16:creationId xmlns:a16="http://schemas.microsoft.com/office/drawing/2014/main" id="{C5452DFF-9BBC-7DEC-A7A1-1A4721233CF8}"/>
              </a:ext>
            </a:extLst>
          </p:cNvPr>
          <p:cNvSpPr txBox="1">
            <a:spLocks/>
          </p:cNvSpPr>
          <p:nvPr/>
        </p:nvSpPr>
        <p:spPr>
          <a:xfrm>
            <a:off x="460374" y="3303136"/>
            <a:ext cx="8220076" cy="1172091"/>
          </a:xfrm>
          <a:prstGeom prst="roundRect">
            <a:avLst>
              <a:gd name="adj" fmla="val 15319"/>
            </a:avLst>
          </a:prstGeom>
          <a:gradFill flip="none" rotWithShape="1">
            <a:gsLst>
              <a:gs pos="0">
                <a:schemeClr val="bg1"/>
              </a:gs>
              <a:gs pos="99000">
                <a:srgbClr val="41C3FF"/>
              </a:gs>
            </a:gsLst>
            <a:lin ang="2700000" scaled="1"/>
            <a:tileRect/>
          </a:gradFill>
          <a:effectLst>
            <a:outerShdw blurRad="508000" dist="38100" dir="5400000" algn="t" rotWithShape="0">
              <a:prstClr val="black">
                <a:alpha val="15000"/>
              </a:prstClr>
            </a:outerShdw>
          </a:effectLst>
        </p:spPr>
        <p:txBody>
          <a:bodyPr lIns="180000" tIns="81000" rIns="180000" bIns="180000" anchor="b"/>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Feuille de route complète sur 3 ans</a:t>
            </a:r>
          </a:p>
        </p:txBody>
      </p:sp>
      <p:sp>
        <p:nvSpPr>
          <p:cNvPr id="2" name="Text Placeholder 4">
            <a:extLst>
              <a:ext uri="{FF2B5EF4-FFF2-40B4-BE49-F238E27FC236}">
                <a16:creationId xmlns:a16="http://schemas.microsoft.com/office/drawing/2014/main" id="{986E303F-704F-344A-F6C3-98A95353A95E}"/>
              </a:ext>
            </a:extLst>
          </p:cNvPr>
          <p:cNvSpPr txBox="1">
            <a:spLocks/>
          </p:cNvSpPr>
          <p:nvPr/>
        </p:nvSpPr>
        <p:spPr>
          <a:xfrm>
            <a:off x="460374" y="2659514"/>
            <a:ext cx="8220076" cy="1172091"/>
          </a:xfrm>
          <a:prstGeom prst="roundRect">
            <a:avLst>
              <a:gd name="adj" fmla="val 12430"/>
            </a:avLst>
          </a:prstGeom>
          <a:solidFill>
            <a:schemeClr val="tx1"/>
          </a:solidFill>
          <a:effectLst>
            <a:outerShdw blurRad="508000" dist="38100" dir="5400000" algn="t" rotWithShape="0">
              <a:prstClr val="black">
                <a:alpha val="15000"/>
              </a:prstClr>
            </a:outerShdw>
          </a:effectLst>
        </p:spPr>
        <p:txBody>
          <a:bodyPr lIns="180000" tIns="81000" rIns="180000" bIns="180000" anchor="b"/>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Harmoniser les processus pour le parcours client, le service et les opérations</a:t>
            </a:r>
          </a:p>
        </p:txBody>
      </p:sp>
      <p:sp>
        <p:nvSpPr>
          <p:cNvPr id="74" name="Round Single Corner of Rectangle 73">
            <a:extLst>
              <a:ext uri="{FF2B5EF4-FFF2-40B4-BE49-F238E27FC236}">
                <a16:creationId xmlns:a16="http://schemas.microsoft.com/office/drawing/2014/main" id="{6D135D7A-5052-9AC6-4150-5F76E0712533}"/>
              </a:ext>
            </a:extLst>
          </p:cNvPr>
          <p:cNvSpPr/>
          <p:nvPr/>
        </p:nvSpPr>
        <p:spPr>
          <a:xfrm flipH="1" flipV="1">
            <a:off x="460374" y="2345560"/>
            <a:ext cx="4556704" cy="900000"/>
          </a:xfrm>
          <a:prstGeom prst="round1Rect">
            <a:avLst>
              <a:gd name="adj" fmla="val 17327"/>
            </a:avLst>
          </a:prstGeom>
          <a:gradFill flip="none" rotWithShape="1">
            <a:gsLst>
              <a:gs pos="0">
                <a:srgbClr val="B31F7E"/>
              </a:gs>
              <a:gs pos="99000">
                <a:schemeClr val="bg1"/>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79" name="Round Single Corner of Rectangle 78">
            <a:extLst>
              <a:ext uri="{FF2B5EF4-FFF2-40B4-BE49-F238E27FC236}">
                <a16:creationId xmlns:a16="http://schemas.microsoft.com/office/drawing/2014/main" id="{0AA095B3-E761-B9FD-AED5-78DB587BDBF0}"/>
              </a:ext>
            </a:extLst>
          </p:cNvPr>
          <p:cNvSpPr/>
          <p:nvPr/>
        </p:nvSpPr>
        <p:spPr>
          <a:xfrm flipH="1" flipV="1">
            <a:off x="5017077" y="2345560"/>
            <a:ext cx="1849180" cy="900000"/>
          </a:xfrm>
          <a:prstGeom prst="round1Rect">
            <a:avLst>
              <a:gd name="adj" fmla="val 0"/>
            </a:avLst>
          </a:prstGeom>
          <a:gradFill flip="none" rotWithShape="1">
            <a:gsLst>
              <a:gs pos="0">
                <a:srgbClr val="B31F7E"/>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0" name="Round Single Corner of Rectangle 79">
            <a:extLst>
              <a:ext uri="{FF2B5EF4-FFF2-40B4-BE49-F238E27FC236}">
                <a16:creationId xmlns:a16="http://schemas.microsoft.com/office/drawing/2014/main" id="{FB240E1F-07B3-2335-8AD1-6A83E6D0152E}"/>
              </a:ext>
            </a:extLst>
          </p:cNvPr>
          <p:cNvSpPr/>
          <p:nvPr/>
        </p:nvSpPr>
        <p:spPr>
          <a:xfrm flipH="1" flipV="1">
            <a:off x="6865538" y="2345560"/>
            <a:ext cx="917999" cy="900000"/>
          </a:xfrm>
          <a:prstGeom prst="round1Rect">
            <a:avLst>
              <a:gd name="adj" fmla="val 0"/>
            </a:avLst>
          </a:prstGeom>
          <a:gradFill flip="none" rotWithShape="1">
            <a:gsLst>
              <a:gs pos="0">
                <a:srgbClr val="0070C0"/>
              </a:gs>
              <a:gs pos="99000">
                <a:schemeClr val="bg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1" name="Round Single Corner of Rectangle 80">
            <a:extLst>
              <a:ext uri="{FF2B5EF4-FFF2-40B4-BE49-F238E27FC236}">
                <a16:creationId xmlns:a16="http://schemas.microsoft.com/office/drawing/2014/main" id="{35B8654A-D356-D706-FE91-C9225971010C}"/>
              </a:ext>
            </a:extLst>
          </p:cNvPr>
          <p:cNvSpPr/>
          <p:nvPr/>
        </p:nvSpPr>
        <p:spPr>
          <a:xfrm flipV="1">
            <a:off x="7762452" y="2345560"/>
            <a:ext cx="917999" cy="900000"/>
          </a:xfrm>
          <a:prstGeom prst="round1Rect">
            <a:avLst>
              <a:gd name="adj" fmla="val 19792"/>
            </a:avLst>
          </a:prstGeom>
          <a:gradFill flip="none" rotWithShape="1">
            <a:gsLst>
              <a:gs pos="0">
                <a:srgbClr val="002060"/>
              </a:gs>
              <a:gs pos="99000">
                <a:srgbClr val="0070C0"/>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5" name="Graphic 4">
            <a:extLst>
              <a:ext uri="{FF2B5EF4-FFF2-40B4-BE49-F238E27FC236}">
                <a16:creationId xmlns:a16="http://schemas.microsoft.com/office/drawing/2014/main" id="{AB3C7D95-C8AC-97CA-4249-1E538080F0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90" y="502487"/>
            <a:ext cx="410773" cy="410773"/>
          </a:xfrm>
          <a:prstGeom prst="rect">
            <a:avLst/>
          </a:prstGeom>
        </p:spPr>
      </p:pic>
      <p:sp>
        <p:nvSpPr>
          <p:cNvPr id="9" name="Round Single Corner of Rectangle 8">
            <a:extLst>
              <a:ext uri="{FF2B5EF4-FFF2-40B4-BE49-F238E27FC236}">
                <a16:creationId xmlns:a16="http://schemas.microsoft.com/office/drawing/2014/main" id="{13314657-1366-BAD3-7560-29C035793136}"/>
              </a:ext>
            </a:extLst>
          </p:cNvPr>
          <p:cNvSpPr/>
          <p:nvPr/>
        </p:nvSpPr>
        <p:spPr>
          <a:xfrm flipH="1">
            <a:off x="460375" y="1429909"/>
            <a:ext cx="900000" cy="900000"/>
          </a:xfrm>
          <a:prstGeom prst="round1Rect">
            <a:avLst>
              <a:gd name="adj" fmla="val 17327"/>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1" name="Rectangle 10">
            <a:extLst>
              <a:ext uri="{FF2B5EF4-FFF2-40B4-BE49-F238E27FC236}">
                <a16:creationId xmlns:a16="http://schemas.microsoft.com/office/drawing/2014/main" id="{3FA0D7F2-70D7-3B9F-D83E-3ADEE82CAEC7}"/>
              </a:ext>
            </a:extLst>
          </p:cNvPr>
          <p:cNvSpPr/>
          <p:nvPr/>
        </p:nvSpPr>
        <p:spPr>
          <a:xfrm>
            <a:off x="1374551"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2" name="Rectangle 11">
            <a:extLst>
              <a:ext uri="{FF2B5EF4-FFF2-40B4-BE49-F238E27FC236}">
                <a16:creationId xmlns:a16="http://schemas.microsoft.com/office/drawing/2014/main" id="{52979172-8D21-5653-5C35-874E37A60A4B}"/>
              </a:ext>
            </a:extLst>
          </p:cNvPr>
          <p:cNvSpPr/>
          <p:nvPr/>
        </p:nvSpPr>
        <p:spPr>
          <a:xfrm>
            <a:off x="3202903"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3" name="Rectangle 12">
            <a:extLst>
              <a:ext uri="{FF2B5EF4-FFF2-40B4-BE49-F238E27FC236}">
                <a16:creationId xmlns:a16="http://schemas.microsoft.com/office/drawing/2014/main" id="{1337406D-35F4-B0B6-327E-023EAA41A73A}"/>
              </a:ext>
            </a:extLst>
          </p:cNvPr>
          <p:cNvSpPr/>
          <p:nvPr/>
        </p:nvSpPr>
        <p:spPr>
          <a:xfrm>
            <a:off x="4117079" y="1429909"/>
            <a:ext cx="1808247"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6" name="Rectangle 15">
            <a:extLst>
              <a:ext uri="{FF2B5EF4-FFF2-40B4-BE49-F238E27FC236}">
                <a16:creationId xmlns:a16="http://schemas.microsoft.com/office/drawing/2014/main" id="{FCAFB7F6-C059-1569-F15A-E5FC852E0F00}"/>
              </a:ext>
            </a:extLst>
          </p:cNvPr>
          <p:cNvSpPr/>
          <p:nvPr/>
        </p:nvSpPr>
        <p:spPr>
          <a:xfrm>
            <a:off x="5945431"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19" name="Picture 18" descr="A blue text on a white background&#10;&#10;Description automatically generated">
            <a:extLst>
              <a:ext uri="{FF2B5EF4-FFF2-40B4-BE49-F238E27FC236}">
                <a16:creationId xmlns:a16="http://schemas.microsoft.com/office/drawing/2014/main" id="{5D949377-6E46-F234-A20A-7A0C5DCF53D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458662" y="1749773"/>
            <a:ext cx="709965" cy="198792"/>
          </a:xfrm>
          <a:prstGeom prst="rect">
            <a:avLst/>
          </a:prstGeom>
        </p:spPr>
      </p:pic>
      <p:sp>
        <p:nvSpPr>
          <p:cNvPr id="20" name="Rectangle 19">
            <a:extLst>
              <a:ext uri="{FF2B5EF4-FFF2-40B4-BE49-F238E27FC236}">
                <a16:creationId xmlns:a16="http://schemas.microsoft.com/office/drawing/2014/main" id="{8695DFEF-1F86-09D6-C257-DBA675B0CFCD}"/>
              </a:ext>
            </a:extLst>
          </p:cNvPr>
          <p:cNvSpPr/>
          <p:nvPr/>
        </p:nvSpPr>
        <p:spPr>
          <a:xfrm>
            <a:off x="2288727"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25" name="Graphic 23">
            <a:extLst>
              <a:ext uri="{FF2B5EF4-FFF2-40B4-BE49-F238E27FC236}">
                <a16:creationId xmlns:a16="http://schemas.microsoft.com/office/drawing/2014/main" id="{890BC5AE-8799-33CA-814E-8F196909946D}"/>
              </a:ext>
            </a:extLst>
          </p:cNvPr>
          <p:cNvPicPr>
            <a:picLocks noChangeAspect="1"/>
          </p:cNvPicPr>
          <p:nvPr/>
        </p:nvPicPr>
        <p:blipFill rotWithShape="1">
          <a:blip r:embed="rId6"/>
          <a:srcRect l="806" r="806"/>
          <a:stretch/>
        </p:blipFill>
        <p:spPr>
          <a:xfrm>
            <a:off x="6161071" y="1641709"/>
            <a:ext cx="468720" cy="476400"/>
          </a:xfrm>
          <a:prstGeom prst="rect">
            <a:avLst/>
          </a:prstGeom>
        </p:spPr>
      </p:pic>
      <p:grpSp>
        <p:nvGrpSpPr>
          <p:cNvPr id="30" name="Group 29">
            <a:extLst>
              <a:ext uri="{FF2B5EF4-FFF2-40B4-BE49-F238E27FC236}">
                <a16:creationId xmlns:a16="http://schemas.microsoft.com/office/drawing/2014/main" id="{0A49AC58-75CE-CAC0-06D5-9AC1DAB6D3E6}"/>
              </a:ext>
            </a:extLst>
          </p:cNvPr>
          <p:cNvGrpSpPr/>
          <p:nvPr/>
        </p:nvGrpSpPr>
        <p:grpSpPr>
          <a:xfrm>
            <a:off x="4735371" y="1809791"/>
            <a:ext cx="571641" cy="163356"/>
            <a:chOff x="6399138" y="1794304"/>
            <a:chExt cx="1373876" cy="530467"/>
          </a:xfrm>
        </p:grpSpPr>
        <p:sp>
          <p:nvSpPr>
            <p:cNvPr id="31" name="Freeform: Shape 40">
              <a:extLst>
                <a:ext uri="{FF2B5EF4-FFF2-40B4-BE49-F238E27FC236}">
                  <a16:creationId xmlns:a16="http://schemas.microsoft.com/office/drawing/2014/main" id="{BB186D73-CBFD-57A5-162D-BEA2C9092546}"/>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2" name="Freeform: Shape 41">
              <a:extLst>
                <a:ext uri="{FF2B5EF4-FFF2-40B4-BE49-F238E27FC236}">
                  <a16:creationId xmlns:a16="http://schemas.microsoft.com/office/drawing/2014/main" id="{B9D8E30F-35C1-7B40-FE15-1565DB3F7596}"/>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3" name="Freeform: Shape 42">
              <a:extLst>
                <a:ext uri="{FF2B5EF4-FFF2-40B4-BE49-F238E27FC236}">
                  <a16:creationId xmlns:a16="http://schemas.microsoft.com/office/drawing/2014/main" id="{D3C1F4E2-3943-14EF-2199-6D547FF9C46B}"/>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4" name="Freeform: Shape 43">
              <a:extLst>
                <a:ext uri="{FF2B5EF4-FFF2-40B4-BE49-F238E27FC236}">
                  <a16:creationId xmlns:a16="http://schemas.microsoft.com/office/drawing/2014/main" id="{DA257778-ED0E-2FDA-9CC3-9B100D2856D7}"/>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grpSp>
      <p:grpSp>
        <p:nvGrpSpPr>
          <p:cNvPr id="35" name="Group 34">
            <a:extLst>
              <a:ext uri="{FF2B5EF4-FFF2-40B4-BE49-F238E27FC236}">
                <a16:creationId xmlns:a16="http://schemas.microsoft.com/office/drawing/2014/main" id="{81BB3DAA-89FD-2EF4-02CF-AF95365C7C73}"/>
              </a:ext>
            </a:extLst>
          </p:cNvPr>
          <p:cNvGrpSpPr/>
          <p:nvPr/>
        </p:nvGrpSpPr>
        <p:grpSpPr>
          <a:xfrm>
            <a:off x="3364899" y="1640829"/>
            <a:ext cx="559895" cy="498684"/>
            <a:chOff x="3700462" y="1685925"/>
            <a:chExt cx="1743074" cy="1771649"/>
          </a:xfrm>
        </p:grpSpPr>
        <p:sp>
          <p:nvSpPr>
            <p:cNvPr id="36" name="Freeform: Shape 54">
              <a:extLst>
                <a:ext uri="{FF2B5EF4-FFF2-40B4-BE49-F238E27FC236}">
                  <a16:creationId xmlns:a16="http://schemas.microsoft.com/office/drawing/2014/main" id="{ADDF469B-78F7-C441-9399-5BA59337A9DA}"/>
                </a:ext>
              </a:extLst>
            </p:cNvPr>
            <p:cNvSpPr/>
            <p:nvPr/>
          </p:nvSpPr>
          <p:spPr>
            <a:xfrm>
              <a:off x="4116609" y="3047361"/>
              <a:ext cx="1260138" cy="172964"/>
            </a:xfrm>
            <a:custGeom>
              <a:avLst/>
              <a:gdLst>
                <a:gd name="connsiteX0" fmla="*/ 3400 w 1260138"/>
                <a:gd name="connsiteY0" fmla="*/ 86411 h 172964"/>
                <a:gd name="connsiteX1" fmla="*/ 80858 w 1260138"/>
                <a:gd name="connsiteY1" fmla="*/ 152 h 172964"/>
                <a:gd name="connsiteX2" fmla="*/ 120996 w 1260138"/>
                <a:gd name="connsiteY2" fmla="*/ 12621 h 172964"/>
                <a:gd name="connsiteX3" fmla="*/ 127064 w 1260138"/>
                <a:gd name="connsiteY3" fmla="*/ 23603 h 172964"/>
                <a:gd name="connsiteX4" fmla="*/ 108699 w 1260138"/>
                <a:gd name="connsiteY4" fmla="*/ 42167 h 172964"/>
                <a:gd name="connsiteX5" fmla="*/ 101146 w 1260138"/>
                <a:gd name="connsiteY5" fmla="*/ 39643 h 172964"/>
                <a:gd name="connsiteX6" fmla="*/ 75971 w 1260138"/>
                <a:gd name="connsiteY6" fmla="*/ 30290 h 172964"/>
                <a:gd name="connsiteX7" fmla="*/ 36433 w 1260138"/>
                <a:gd name="connsiteY7" fmla="*/ 86106 h 172964"/>
                <a:gd name="connsiteX8" fmla="*/ 32728 w 1260138"/>
                <a:gd name="connsiteY8" fmla="*/ 117138 h 172964"/>
                <a:gd name="connsiteX9" fmla="*/ 58350 w 1260138"/>
                <a:gd name="connsiteY9" fmla="*/ 141932 h 172964"/>
                <a:gd name="connsiteX10" fmla="*/ 92850 w 1260138"/>
                <a:gd name="connsiteY10" fmla="*/ 112538 h 172964"/>
                <a:gd name="connsiteX11" fmla="*/ 94336 w 1260138"/>
                <a:gd name="connsiteY11" fmla="*/ 103184 h 172964"/>
                <a:gd name="connsiteX12" fmla="*/ 92554 w 1260138"/>
                <a:gd name="connsiteY12" fmla="*/ 100955 h 172964"/>
                <a:gd name="connsiteX13" fmla="*/ 78343 w 1260138"/>
                <a:gd name="connsiteY13" fmla="*/ 100955 h 172964"/>
                <a:gd name="connsiteX14" fmla="*/ 65456 w 1260138"/>
                <a:gd name="connsiteY14" fmla="*/ 87449 h 172964"/>
                <a:gd name="connsiteX15" fmla="*/ 82487 w 1260138"/>
                <a:gd name="connsiteY15" fmla="*/ 70371 h 172964"/>
                <a:gd name="connsiteX16" fmla="*/ 117881 w 1260138"/>
                <a:gd name="connsiteY16" fmla="*/ 70371 h 172964"/>
                <a:gd name="connsiteX17" fmla="*/ 128692 w 1260138"/>
                <a:gd name="connsiteY17" fmla="*/ 83287 h 172964"/>
                <a:gd name="connsiteX18" fmla="*/ 124101 w 1260138"/>
                <a:gd name="connsiteY18" fmla="*/ 112681 h 172964"/>
                <a:gd name="connsiteX19" fmla="*/ 53464 w 1260138"/>
                <a:gd name="connsiteY19" fmla="*/ 172222 h 172964"/>
                <a:gd name="connsiteX20" fmla="*/ 0 w 1260138"/>
                <a:gd name="connsiteY20" fmla="*/ 122034 h 172964"/>
                <a:gd name="connsiteX21" fmla="*/ 3410 w 1260138"/>
                <a:gd name="connsiteY21" fmla="*/ 86106 h 172964"/>
                <a:gd name="connsiteX22" fmla="*/ 3410 w 1260138"/>
                <a:gd name="connsiteY22" fmla="*/ 86411 h 172964"/>
                <a:gd name="connsiteX23" fmla="*/ 156391 w 1260138"/>
                <a:gd name="connsiteY23" fmla="*/ 171631 h 172964"/>
                <a:gd name="connsiteX24" fmla="*/ 144685 w 1260138"/>
                <a:gd name="connsiteY24" fmla="*/ 157229 h 172964"/>
                <a:gd name="connsiteX25" fmla="*/ 167354 w 1260138"/>
                <a:gd name="connsiteY25" fmla="*/ 13659 h 172964"/>
                <a:gd name="connsiteX26" fmla="*/ 185118 w 1260138"/>
                <a:gd name="connsiteY26" fmla="*/ 152 h 172964"/>
                <a:gd name="connsiteX27" fmla="*/ 199339 w 1260138"/>
                <a:gd name="connsiteY27" fmla="*/ 11135 h 172964"/>
                <a:gd name="connsiteX28" fmla="*/ 198149 w 1260138"/>
                <a:gd name="connsiteY28" fmla="*/ 20193 h 172964"/>
                <a:gd name="connsiteX29" fmla="*/ 179346 w 1260138"/>
                <a:gd name="connsiteY29" fmla="*/ 138522 h 172964"/>
                <a:gd name="connsiteX30" fmla="*/ 181270 w 1260138"/>
                <a:gd name="connsiteY30" fmla="*/ 140741 h 172964"/>
                <a:gd name="connsiteX31" fmla="*/ 232362 w 1260138"/>
                <a:gd name="connsiteY31" fmla="*/ 140741 h 172964"/>
                <a:gd name="connsiteX32" fmla="*/ 245545 w 1260138"/>
                <a:gd name="connsiteY32" fmla="*/ 154257 h 172964"/>
                <a:gd name="connsiteX33" fmla="*/ 226733 w 1260138"/>
                <a:gd name="connsiteY33" fmla="*/ 171631 h 172964"/>
                <a:gd name="connsiteX34" fmla="*/ 156391 w 1260138"/>
                <a:gd name="connsiteY34" fmla="*/ 171631 h 172964"/>
                <a:gd name="connsiteX35" fmla="*/ 291751 w 1260138"/>
                <a:gd name="connsiteY35" fmla="*/ 163611 h 172964"/>
                <a:gd name="connsiteX36" fmla="*/ 277825 w 1260138"/>
                <a:gd name="connsiteY36" fmla="*/ 172669 h 172964"/>
                <a:gd name="connsiteX37" fmla="*/ 260937 w 1260138"/>
                <a:gd name="connsiteY37" fmla="*/ 159896 h 172964"/>
                <a:gd name="connsiteX38" fmla="*/ 263166 w 1260138"/>
                <a:gd name="connsiteY38" fmla="*/ 152029 h 172964"/>
                <a:gd name="connsiteX39" fmla="*/ 330098 w 1260138"/>
                <a:gd name="connsiteY39" fmla="*/ 22422 h 172964"/>
                <a:gd name="connsiteX40" fmla="*/ 356911 w 1260138"/>
                <a:gd name="connsiteY40" fmla="*/ 152 h 172964"/>
                <a:gd name="connsiteX41" fmla="*/ 377485 w 1260138"/>
                <a:gd name="connsiteY41" fmla="*/ 22422 h 172964"/>
                <a:gd name="connsiteX42" fmla="*/ 404155 w 1260138"/>
                <a:gd name="connsiteY42" fmla="*/ 153219 h 172964"/>
                <a:gd name="connsiteX43" fmla="*/ 404889 w 1260138"/>
                <a:gd name="connsiteY43" fmla="*/ 159601 h 172964"/>
                <a:gd name="connsiteX44" fmla="*/ 385782 w 1260138"/>
                <a:gd name="connsiteY44" fmla="*/ 172517 h 172964"/>
                <a:gd name="connsiteX45" fmla="*/ 374828 w 1260138"/>
                <a:gd name="connsiteY45" fmla="*/ 163163 h 172964"/>
                <a:gd name="connsiteX46" fmla="*/ 370237 w 1260138"/>
                <a:gd name="connsiteY46" fmla="*/ 140894 h 172964"/>
                <a:gd name="connsiteX47" fmla="*/ 367122 w 1260138"/>
                <a:gd name="connsiteY47" fmla="*/ 137484 h 172964"/>
                <a:gd name="connsiteX48" fmla="*/ 307753 w 1260138"/>
                <a:gd name="connsiteY48" fmla="*/ 137484 h 172964"/>
                <a:gd name="connsiteX49" fmla="*/ 303600 w 1260138"/>
                <a:gd name="connsiteY49" fmla="*/ 140894 h 172964"/>
                <a:gd name="connsiteX50" fmla="*/ 291903 w 1260138"/>
                <a:gd name="connsiteY50" fmla="*/ 163458 h 172964"/>
                <a:gd name="connsiteX51" fmla="*/ 291751 w 1260138"/>
                <a:gd name="connsiteY51" fmla="*/ 163611 h 172964"/>
                <a:gd name="connsiteX52" fmla="*/ 360902 w 1260138"/>
                <a:gd name="connsiteY52" fmla="*/ 106747 h 172964"/>
                <a:gd name="connsiteX53" fmla="*/ 363426 w 1260138"/>
                <a:gd name="connsiteY53" fmla="*/ 104966 h 172964"/>
                <a:gd name="connsiteX54" fmla="*/ 363131 w 1260138"/>
                <a:gd name="connsiteY54" fmla="*/ 101851 h 172964"/>
                <a:gd name="connsiteX55" fmla="*/ 354540 w 1260138"/>
                <a:gd name="connsiteY55" fmla="*/ 47654 h 172964"/>
                <a:gd name="connsiteX56" fmla="*/ 352320 w 1260138"/>
                <a:gd name="connsiteY56" fmla="*/ 39786 h 172964"/>
                <a:gd name="connsiteX57" fmla="*/ 347872 w 1260138"/>
                <a:gd name="connsiteY57" fmla="*/ 47654 h 172964"/>
                <a:gd name="connsiteX58" fmla="*/ 321659 w 1260138"/>
                <a:gd name="connsiteY58" fmla="*/ 101851 h 172964"/>
                <a:gd name="connsiteX59" fmla="*/ 320478 w 1260138"/>
                <a:gd name="connsiteY59" fmla="*/ 105261 h 172964"/>
                <a:gd name="connsiteX60" fmla="*/ 322402 w 1260138"/>
                <a:gd name="connsiteY60" fmla="*/ 106747 h 172964"/>
                <a:gd name="connsiteX61" fmla="*/ 360902 w 1260138"/>
                <a:gd name="connsiteY61" fmla="*/ 106747 h 172964"/>
                <a:gd name="connsiteX62" fmla="*/ 498186 w 1260138"/>
                <a:gd name="connsiteY62" fmla="*/ 30290 h 172964"/>
                <a:gd name="connsiteX63" fmla="*/ 472564 w 1260138"/>
                <a:gd name="connsiteY63" fmla="*/ 48101 h 172964"/>
                <a:gd name="connsiteX64" fmla="*/ 490337 w 1260138"/>
                <a:gd name="connsiteY64" fmla="*/ 65027 h 172964"/>
                <a:gd name="connsiteX65" fmla="*/ 511073 w 1260138"/>
                <a:gd name="connsiteY65" fmla="*/ 75124 h 172964"/>
                <a:gd name="connsiteX66" fmla="*/ 545583 w 1260138"/>
                <a:gd name="connsiteY66" fmla="*/ 120853 h 172964"/>
                <a:gd name="connsiteX67" fmla="*/ 482489 w 1260138"/>
                <a:gd name="connsiteY67" fmla="*/ 172517 h 172964"/>
                <a:gd name="connsiteX68" fmla="*/ 423405 w 1260138"/>
                <a:gd name="connsiteY68" fmla="*/ 148314 h 172964"/>
                <a:gd name="connsiteX69" fmla="*/ 420291 w 1260138"/>
                <a:gd name="connsiteY69" fmla="*/ 140303 h 172964"/>
                <a:gd name="connsiteX70" fmla="*/ 438807 w 1260138"/>
                <a:gd name="connsiteY70" fmla="*/ 123082 h 172964"/>
                <a:gd name="connsiteX71" fmla="*/ 449313 w 1260138"/>
                <a:gd name="connsiteY71" fmla="*/ 128426 h 172964"/>
                <a:gd name="connsiteX72" fmla="*/ 485013 w 1260138"/>
                <a:gd name="connsiteY72" fmla="*/ 142380 h 172964"/>
                <a:gd name="connsiteX73" fmla="*/ 511816 w 1260138"/>
                <a:gd name="connsiteY73" fmla="*/ 123520 h 172964"/>
                <a:gd name="connsiteX74" fmla="*/ 495224 w 1260138"/>
                <a:gd name="connsiteY74" fmla="*/ 104223 h 172964"/>
                <a:gd name="connsiteX75" fmla="*/ 473897 w 1260138"/>
                <a:gd name="connsiteY75" fmla="*/ 94126 h 172964"/>
                <a:gd name="connsiteX76" fmla="*/ 438655 w 1260138"/>
                <a:gd name="connsiteY76" fmla="*/ 49292 h 172964"/>
                <a:gd name="connsiteX77" fmla="*/ 499967 w 1260138"/>
                <a:gd name="connsiteY77" fmla="*/ 0 h 172964"/>
                <a:gd name="connsiteX78" fmla="*/ 550316 w 1260138"/>
                <a:gd name="connsiteY78" fmla="*/ 16631 h 172964"/>
                <a:gd name="connsiteX79" fmla="*/ 555650 w 1260138"/>
                <a:gd name="connsiteY79" fmla="*/ 27165 h 172964"/>
                <a:gd name="connsiteX80" fmla="*/ 538467 w 1260138"/>
                <a:gd name="connsiteY80" fmla="*/ 44396 h 172964"/>
                <a:gd name="connsiteX81" fmla="*/ 528257 w 1260138"/>
                <a:gd name="connsiteY81" fmla="*/ 40529 h 172964"/>
                <a:gd name="connsiteX82" fmla="*/ 497891 w 1260138"/>
                <a:gd name="connsiteY82" fmla="*/ 30290 h 172964"/>
                <a:gd name="connsiteX83" fmla="*/ 498186 w 1260138"/>
                <a:gd name="connsiteY83" fmla="*/ 30290 h 172964"/>
                <a:gd name="connsiteX84" fmla="*/ 620668 w 1260138"/>
                <a:gd name="connsiteY84" fmla="*/ 32071 h 172964"/>
                <a:gd name="connsiteX85" fmla="*/ 618296 w 1260138"/>
                <a:gd name="connsiteY85" fmla="*/ 34300 h 172964"/>
                <a:gd name="connsiteX86" fmla="*/ 613115 w 1260138"/>
                <a:gd name="connsiteY86" fmla="*/ 66065 h 172964"/>
                <a:gd name="connsiteX87" fmla="*/ 615039 w 1260138"/>
                <a:gd name="connsiteY87" fmla="*/ 68294 h 172964"/>
                <a:gd name="connsiteX88" fmla="*/ 661387 w 1260138"/>
                <a:gd name="connsiteY88" fmla="*/ 68294 h 172964"/>
                <a:gd name="connsiteX89" fmla="*/ 674570 w 1260138"/>
                <a:gd name="connsiteY89" fmla="*/ 81810 h 172964"/>
                <a:gd name="connsiteX90" fmla="*/ 655758 w 1260138"/>
                <a:gd name="connsiteY90" fmla="*/ 99174 h 172964"/>
                <a:gd name="connsiteX91" fmla="*/ 610153 w 1260138"/>
                <a:gd name="connsiteY91" fmla="*/ 99174 h 172964"/>
                <a:gd name="connsiteX92" fmla="*/ 607486 w 1260138"/>
                <a:gd name="connsiteY92" fmla="*/ 101403 h 172964"/>
                <a:gd name="connsiteX93" fmla="*/ 598446 w 1260138"/>
                <a:gd name="connsiteY93" fmla="*/ 159153 h 172964"/>
                <a:gd name="connsiteX94" fmla="*/ 580682 w 1260138"/>
                <a:gd name="connsiteY94" fmla="*/ 172669 h 172964"/>
                <a:gd name="connsiteX95" fmla="*/ 566461 w 1260138"/>
                <a:gd name="connsiteY95" fmla="*/ 161677 h 172964"/>
                <a:gd name="connsiteX96" fmla="*/ 567642 w 1260138"/>
                <a:gd name="connsiteY96" fmla="*/ 152629 h 172964"/>
                <a:gd name="connsiteX97" fmla="*/ 589417 w 1260138"/>
                <a:gd name="connsiteY97" fmla="*/ 15735 h 172964"/>
                <a:gd name="connsiteX98" fmla="*/ 605561 w 1260138"/>
                <a:gd name="connsiteY98" fmla="*/ 1333 h 172964"/>
                <a:gd name="connsiteX99" fmla="*/ 688343 w 1260138"/>
                <a:gd name="connsiteY99" fmla="*/ 1333 h 172964"/>
                <a:gd name="connsiteX100" fmla="*/ 701526 w 1260138"/>
                <a:gd name="connsiteY100" fmla="*/ 14850 h 172964"/>
                <a:gd name="connsiteX101" fmla="*/ 682714 w 1260138"/>
                <a:gd name="connsiteY101" fmla="*/ 32223 h 172964"/>
                <a:gd name="connsiteX102" fmla="*/ 620668 w 1260138"/>
                <a:gd name="connsiteY102" fmla="*/ 32223 h 172964"/>
                <a:gd name="connsiteX103" fmla="*/ 620668 w 1260138"/>
                <a:gd name="connsiteY103" fmla="*/ 32071 h 172964"/>
                <a:gd name="connsiteX104" fmla="*/ 703155 w 1260138"/>
                <a:gd name="connsiteY104" fmla="*/ 163611 h 172964"/>
                <a:gd name="connsiteX105" fmla="*/ 689229 w 1260138"/>
                <a:gd name="connsiteY105" fmla="*/ 172669 h 172964"/>
                <a:gd name="connsiteX106" fmla="*/ 672351 w 1260138"/>
                <a:gd name="connsiteY106" fmla="*/ 159896 h 172964"/>
                <a:gd name="connsiteX107" fmla="*/ 674570 w 1260138"/>
                <a:gd name="connsiteY107" fmla="*/ 152029 h 172964"/>
                <a:gd name="connsiteX108" fmla="*/ 741512 w 1260138"/>
                <a:gd name="connsiteY108" fmla="*/ 22422 h 172964"/>
                <a:gd name="connsiteX109" fmla="*/ 768315 w 1260138"/>
                <a:gd name="connsiteY109" fmla="*/ 152 h 172964"/>
                <a:gd name="connsiteX110" fmla="*/ 788756 w 1260138"/>
                <a:gd name="connsiteY110" fmla="*/ 22422 h 172964"/>
                <a:gd name="connsiteX111" fmla="*/ 815407 w 1260138"/>
                <a:gd name="connsiteY111" fmla="*/ 153219 h 172964"/>
                <a:gd name="connsiteX112" fmla="*/ 816150 w 1260138"/>
                <a:gd name="connsiteY112" fmla="*/ 159601 h 172964"/>
                <a:gd name="connsiteX113" fmla="*/ 797043 w 1260138"/>
                <a:gd name="connsiteY113" fmla="*/ 172517 h 172964"/>
                <a:gd name="connsiteX114" fmla="*/ 786089 w 1260138"/>
                <a:gd name="connsiteY114" fmla="*/ 163163 h 172964"/>
                <a:gd name="connsiteX115" fmla="*/ 781498 w 1260138"/>
                <a:gd name="connsiteY115" fmla="*/ 140894 h 172964"/>
                <a:gd name="connsiteX116" fmla="*/ 778383 w 1260138"/>
                <a:gd name="connsiteY116" fmla="*/ 137484 h 172964"/>
                <a:gd name="connsiteX117" fmla="*/ 718995 w 1260138"/>
                <a:gd name="connsiteY117" fmla="*/ 137484 h 172964"/>
                <a:gd name="connsiteX118" fmla="*/ 714851 w 1260138"/>
                <a:gd name="connsiteY118" fmla="*/ 140894 h 172964"/>
                <a:gd name="connsiteX119" fmla="*/ 703155 w 1260138"/>
                <a:gd name="connsiteY119" fmla="*/ 163458 h 172964"/>
                <a:gd name="connsiteX120" fmla="*/ 703155 w 1260138"/>
                <a:gd name="connsiteY120" fmla="*/ 163611 h 172964"/>
                <a:gd name="connsiteX121" fmla="*/ 772316 w 1260138"/>
                <a:gd name="connsiteY121" fmla="*/ 106747 h 172964"/>
                <a:gd name="connsiteX122" fmla="*/ 774830 w 1260138"/>
                <a:gd name="connsiteY122" fmla="*/ 104966 h 172964"/>
                <a:gd name="connsiteX123" fmla="*/ 774535 w 1260138"/>
                <a:gd name="connsiteY123" fmla="*/ 101851 h 172964"/>
                <a:gd name="connsiteX124" fmla="*/ 765943 w 1260138"/>
                <a:gd name="connsiteY124" fmla="*/ 47654 h 172964"/>
                <a:gd name="connsiteX125" fmla="*/ 763724 w 1260138"/>
                <a:gd name="connsiteY125" fmla="*/ 39786 h 172964"/>
                <a:gd name="connsiteX126" fmla="*/ 759285 w 1260138"/>
                <a:gd name="connsiteY126" fmla="*/ 47654 h 172964"/>
                <a:gd name="connsiteX127" fmla="*/ 733215 w 1260138"/>
                <a:gd name="connsiteY127" fmla="*/ 101851 h 172964"/>
                <a:gd name="connsiteX128" fmla="*/ 732034 w 1260138"/>
                <a:gd name="connsiteY128" fmla="*/ 105261 h 172964"/>
                <a:gd name="connsiteX129" fmla="*/ 733958 w 1260138"/>
                <a:gd name="connsiteY129" fmla="*/ 106747 h 172964"/>
                <a:gd name="connsiteX130" fmla="*/ 772316 w 1260138"/>
                <a:gd name="connsiteY130" fmla="*/ 106747 h 172964"/>
                <a:gd name="connsiteX131" fmla="*/ 909742 w 1260138"/>
                <a:gd name="connsiteY131" fmla="*/ 30290 h 172964"/>
                <a:gd name="connsiteX132" fmla="*/ 884120 w 1260138"/>
                <a:gd name="connsiteY132" fmla="*/ 48101 h 172964"/>
                <a:gd name="connsiteX133" fmla="*/ 901894 w 1260138"/>
                <a:gd name="connsiteY133" fmla="*/ 65027 h 172964"/>
                <a:gd name="connsiteX134" fmla="*/ 922630 w 1260138"/>
                <a:gd name="connsiteY134" fmla="*/ 75124 h 172964"/>
                <a:gd name="connsiteX135" fmla="*/ 957139 w 1260138"/>
                <a:gd name="connsiteY135" fmla="*/ 120853 h 172964"/>
                <a:gd name="connsiteX136" fmla="*/ 894045 w 1260138"/>
                <a:gd name="connsiteY136" fmla="*/ 172517 h 172964"/>
                <a:gd name="connsiteX137" fmla="*/ 834962 w 1260138"/>
                <a:gd name="connsiteY137" fmla="*/ 148314 h 172964"/>
                <a:gd name="connsiteX138" fmla="*/ 831847 w 1260138"/>
                <a:gd name="connsiteY138" fmla="*/ 140303 h 172964"/>
                <a:gd name="connsiteX139" fmla="*/ 850363 w 1260138"/>
                <a:gd name="connsiteY139" fmla="*/ 123082 h 172964"/>
                <a:gd name="connsiteX140" fmla="*/ 860870 w 1260138"/>
                <a:gd name="connsiteY140" fmla="*/ 128426 h 172964"/>
                <a:gd name="connsiteX141" fmla="*/ 896560 w 1260138"/>
                <a:gd name="connsiteY141" fmla="*/ 142380 h 172964"/>
                <a:gd name="connsiteX142" fmla="*/ 923373 w 1260138"/>
                <a:gd name="connsiteY142" fmla="*/ 123520 h 172964"/>
                <a:gd name="connsiteX143" fmla="*/ 906780 w 1260138"/>
                <a:gd name="connsiteY143" fmla="*/ 104223 h 172964"/>
                <a:gd name="connsiteX144" fmla="*/ 885606 w 1260138"/>
                <a:gd name="connsiteY144" fmla="*/ 94126 h 172964"/>
                <a:gd name="connsiteX145" fmla="*/ 850363 w 1260138"/>
                <a:gd name="connsiteY145" fmla="*/ 49292 h 172964"/>
                <a:gd name="connsiteX146" fmla="*/ 911666 w 1260138"/>
                <a:gd name="connsiteY146" fmla="*/ 0 h 172964"/>
                <a:gd name="connsiteX147" fmla="*/ 962025 w 1260138"/>
                <a:gd name="connsiteY147" fmla="*/ 16631 h 172964"/>
                <a:gd name="connsiteX148" fmla="*/ 967349 w 1260138"/>
                <a:gd name="connsiteY148" fmla="*/ 27165 h 172964"/>
                <a:gd name="connsiteX149" fmla="*/ 950319 w 1260138"/>
                <a:gd name="connsiteY149" fmla="*/ 44396 h 172964"/>
                <a:gd name="connsiteX150" fmla="*/ 940108 w 1260138"/>
                <a:gd name="connsiteY150" fmla="*/ 40529 h 172964"/>
                <a:gd name="connsiteX151" fmla="*/ 909895 w 1260138"/>
                <a:gd name="connsiteY151" fmla="*/ 30290 h 172964"/>
                <a:gd name="connsiteX152" fmla="*/ 909742 w 1260138"/>
                <a:gd name="connsiteY152" fmla="*/ 30290 h 172964"/>
                <a:gd name="connsiteX153" fmla="*/ 1097232 w 1260138"/>
                <a:gd name="connsiteY153" fmla="*/ 1191 h 172964"/>
                <a:gd name="connsiteX154" fmla="*/ 1110415 w 1260138"/>
                <a:gd name="connsiteY154" fmla="*/ 14697 h 172964"/>
                <a:gd name="connsiteX155" fmla="*/ 1091603 w 1260138"/>
                <a:gd name="connsiteY155" fmla="*/ 32071 h 172964"/>
                <a:gd name="connsiteX156" fmla="*/ 1031919 w 1260138"/>
                <a:gd name="connsiteY156" fmla="*/ 32071 h 172964"/>
                <a:gd name="connsiteX157" fmla="*/ 1029262 w 1260138"/>
                <a:gd name="connsiteY157" fmla="*/ 34300 h 172964"/>
                <a:gd name="connsiteX158" fmla="*/ 1024366 w 1260138"/>
                <a:gd name="connsiteY158" fmla="*/ 66065 h 172964"/>
                <a:gd name="connsiteX159" fmla="*/ 1026147 w 1260138"/>
                <a:gd name="connsiteY159" fmla="*/ 68294 h 172964"/>
                <a:gd name="connsiteX160" fmla="*/ 1077239 w 1260138"/>
                <a:gd name="connsiteY160" fmla="*/ 68294 h 172964"/>
                <a:gd name="connsiteX161" fmla="*/ 1090422 w 1260138"/>
                <a:gd name="connsiteY161" fmla="*/ 81801 h 172964"/>
                <a:gd name="connsiteX162" fmla="*/ 1071610 w 1260138"/>
                <a:gd name="connsiteY162" fmla="*/ 99174 h 172964"/>
                <a:gd name="connsiteX163" fmla="*/ 1021261 w 1260138"/>
                <a:gd name="connsiteY163" fmla="*/ 99174 h 172964"/>
                <a:gd name="connsiteX164" fmla="*/ 1018746 w 1260138"/>
                <a:gd name="connsiteY164" fmla="*/ 101403 h 172964"/>
                <a:gd name="connsiteX165" fmla="*/ 1012822 w 1260138"/>
                <a:gd name="connsiteY165" fmla="*/ 138665 h 172964"/>
                <a:gd name="connsiteX166" fmla="*/ 1014594 w 1260138"/>
                <a:gd name="connsiteY166" fmla="*/ 140894 h 172964"/>
                <a:gd name="connsiteX167" fmla="*/ 1077392 w 1260138"/>
                <a:gd name="connsiteY167" fmla="*/ 140894 h 172964"/>
                <a:gd name="connsiteX168" fmla="*/ 1090565 w 1260138"/>
                <a:gd name="connsiteY168" fmla="*/ 154400 h 172964"/>
                <a:gd name="connsiteX169" fmla="*/ 1071763 w 1260138"/>
                <a:gd name="connsiteY169" fmla="*/ 171774 h 172964"/>
                <a:gd name="connsiteX170" fmla="*/ 990162 w 1260138"/>
                <a:gd name="connsiteY170" fmla="*/ 171774 h 172964"/>
                <a:gd name="connsiteX171" fmla="*/ 978170 w 1260138"/>
                <a:gd name="connsiteY171" fmla="*/ 157372 h 172964"/>
                <a:gd name="connsiteX172" fmla="*/ 1000382 w 1260138"/>
                <a:gd name="connsiteY172" fmla="*/ 15888 h 172964"/>
                <a:gd name="connsiteX173" fmla="*/ 1016822 w 1260138"/>
                <a:gd name="connsiteY173" fmla="*/ 1486 h 172964"/>
                <a:gd name="connsiteX174" fmla="*/ 1097232 w 1260138"/>
                <a:gd name="connsiteY174" fmla="*/ 1486 h 172964"/>
                <a:gd name="connsiteX175" fmla="*/ 1097232 w 1260138"/>
                <a:gd name="connsiteY175" fmla="*/ 1191 h 172964"/>
                <a:gd name="connsiteX176" fmla="*/ 1190682 w 1260138"/>
                <a:gd name="connsiteY176" fmla="*/ 108233 h 172964"/>
                <a:gd name="connsiteX177" fmla="*/ 1187272 w 1260138"/>
                <a:gd name="connsiteY177" fmla="*/ 106004 h 172964"/>
                <a:gd name="connsiteX178" fmla="*/ 1160469 w 1260138"/>
                <a:gd name="connsiteY178" fmla="*/ 106004 h 172964"/>
                <a:gd name="connsiteX179" fmla="*/ 1157802 w 1260138"/>
                <a:gd name="connsiteY179" fmla="*/ 108233 h 172964"/>
                <a:gd name="connsiteX180" fmla="*/ 1149810 w 1260138"/>
                <a:gd name="connsiteY180" fmla="*/ 159153 h 172964"/>
                <a:gd name="connsiteX181" fmla="*/ 1132037 w 1260138"/>
                <a:gd name="connsiteY181" fmla="*/ 172669 h 172964"/>
                <a:gd name="connsiteX182" fmla="*/ 1117816 w 1260138"/>
                <a:gd name="connsiteY182" fmla="*/ 161677 h 172964"/>
                <a:gd name="connsiteX183" fmla="*/ 1119007 w 1260138"/>
                <a:gd name="connsiteY183" fmla="*/ 152629 h 172964"/>
                <a:gd name="connsiteX184" fmla="*/ 1140771 w 1260138"/>
                <a:gd name="connsiteY184" fmla="*/ 15735 h 172964"/>
                <a:gd name="connsiteX185" fmla="*/ 1157211 w 1260138"/>
                <a:gd name="connsiteY185" fmla="*/ 1333 h 172964"/>
                <a:gd name="connsiteX186" fmla="*/ 1215857 w 1260138"/>
                <a:gd name="connsiteY186" fmla="*/ 1333 h 172964"/>
                <a:gd name="connsiteX187" fmla="*/ 1260139 w 1260138"/>
                <a:gd name="connsiteY187" fmla="*/ 43501 h 172964"/>
                <a:gd name="connsiteX188" fmla="*/ 1224296 w 1260138"/>
                <a:gd name="connsiteY188" fmla="*/ 103184 h 172964"/>
                <a:gd name="connsiteX189" fmla="*/ 1222524 w 1260138"/>
                <a:gd name="connsiteY189" fmla="*/ 104966 h 172964"/>
                <a:gd name="connsiteX190" fmla="*/ 1222820 w 1260138"/>
                <a:gd name="connsiteY190" fmla="*/ 106004 h 172964"/>
                <a:gd name="connsiteX191" fmla="*/ 1242365 w 1260138"/>
                <a:gd name="connsiteY191" fmla="*/ 150847 h 172964"/>
                <a:gd name="connsiteX192" fmla="*/ 1244879 w 1260138"/>
                <a:gd name="connsiteY192" fmla="*/ 159458 h 172964"/>
                <a:gd name="connsiteX193" fmla="*/ 1225782 w 1260138"/>
                <a:gd name="connsiteY193" fmla="*/ 172964 h 172964"/>
                <a:gd name="connsiteX194" fmla="*/ 1214228 w 1260138"/>
                <a:gd name="connsiteY194" fmla="*/ 164354 h 172964"/>
                <a:gd name="connsiteX195" fmla="*/ 1190978 w 1260138"/>
                <a:gd name="connsiteY195" fmla="*/ 108528 h 172964"/>
                <a:gd name="connsiteX196" fmla="*/ 1190682 w 1260138"/>
                <a:gd name="connsiteY196" fmla="*/ 108233 h 172964"/>
                <a:gd name="connsiteX197" fmla="*/ 1205046 w 1260138"/>
                <a:gd name="connsiteY197" fmla="*/ 75419 h 172964"/>
                <a:gd name="connsiteX198" fmla="*/ 1226372 w 1260138"/>
                <a:gd name="connsiteY198" fmla="*/ 49139 h 172964"/>
                <a:gd name="connsiteX199" fmla="*/ 1209789 w 1260138"/>
                <a:gd name="connsiteY199" fmla="*/ 31775 h 172964"/>
                <a:gd name="connsiteX200" fmla="*/ 1172166 w 1260138"/>
                <a:gd name="connsiteY200" fmla="*/ 31775 h 172964"/>
                <a:gd name="connsiteX201" fmla="*/ 1169499 w 1260138"/>
                <a:gd name="connsiteY201" fmla="*/ 34004 h 172964"/>
                <a:gd name="connsiteX202" fmla="*/ 1163431 w 1260138"/>
                <a:gd name="connsiteY202" fmla="*/ 73200 h 172964"/>
                <a:gd name="connsiteX203" fmla="*/ 1165355 w 1260138"/>
                <a:gd name="connsiteY203" fmla="*/ 75419 h 172964"/>
                <a:gd name="connsiteX204" fmla="*/ 1205198 w 1260138"/>
                <a:gd name="connsiteY204" fmla="*/ 75419 h 172964"/>
                <a:gd name="connsiteX205" fmla="*/ 1205046 w 1260138"/>
                <a:gd name="connsiteY205" fmla="*/ 75419 h 17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60138" h="172964">
                  <a:moveTo>
                    <a:pt x="3400" y="86411"/>
                  </a:moveTo>
                  <a:cubicBezTo>
                    <a:pt x="11259" y="36376"/>
                    <a:pt x="21917" y="152"/>
                    <a:pt x="80858" y="152"/>
                  </a:cubicBezTo>
                  <a:cubicBezTo>
                    <a:pt x="94336" y="152"/>
                    <a:pt x="110919" y="3562"/>
                    <a:pt x="120996" y="12621"/>
                  </a:cubicBezTo>
                  <a:cubicBezTo>
                    <a:pt x="124397" y="15735"/>
                    <a:pt x="127064" y="18707"/>
                    <a:pt x="127064" y="23603"/>
                  </a:cubicBezTo>
                  <a:cubicBezTo>
                    <a:pt x="127064" y="32214"/>
                    <a:pt x="118329" y="42167"/>
                    <a:pt x="108699" y="42167"/>
                  </a:cubicBezTo>
                  <a:cubicBezTo>
                    <a:pt x="105962" y="42253"/>
                    <a:pt x="103283" y="41358"/>
                    <a:pt x="101146" y="39643"/>
                  </a:cubicBezTo>
                  <a:cubicBezTo>
                    <a:pt x="91811" y="32071"/>
                    <a:pt x="86039" y="30290"/>
                    <a:pt x="75971" y="30290"/>
                  </a:cubicBezTo>
                  <a:cubicBezTo>
                    <a:pt x="42796" y="30290"/>
                    <a:pt x="40729" y="63094"/>
                    <a:pt x="36433" y="86106"/>
                  </a:cubicBezTo>
                  <a:cubicBezTo>
                    <a:pt x="33909" y="98584"/>
                    <a:pt x="32728" y="108823"/>
                    <a:pt x="32728" y="117138"/>
                  </a:cubicBezTo>
                  <a:cubicBezTo>
                    <a:pt x="32728" y="134512"/>
                    <a:pt x="40138" y="141932"/>
                    <a:pt x="58350" y="141932"/>
                  </a:cubicBezTo>
                  <a:cubicBezTo>
                    <a:pt x="76562" y="141932"/>
                    <a:pt x="89897" y="130654"/>
                    <a:pt x="92850" y="112538"/>
                  </a:cubicBezTo>
                  <a:lnTo>
                    <a:pt x="94336" y="103184"/>
                  </a:lnTo>
                  <a:cubicBezTo>
                    <a:pt x="94631" y="101403"/>
                    <a:pt x="94040" y="100955"/>
                    <a:pt x="92554" y="100955"/>
                  </a:cubicBezTo>
                  <a:lnTo>
                    <a:pt x="78343" y="100955"/>
                  </a:lnTo>
                  <a:cubicBezTo>
                    <a:pt x="68866" y="100955"/>
                    <a:pt x="65456" y="94574"/>
                    <a:pt x="65456" y="87449"/>
                  </a:cubicBezTo>
                  <a:cubicBezTo>
                    <a:pt x="65456" y="78391"/>
                    <a:pt x="71380" y="70371"/>
                    <a:pt x="82487" y="70371"/>
                  </a:cubicBezTo>
                  <a:lnTo>
                    <a:pt x="117881" y="70371"/>
                  </a:lnTo>
                  <a:cubicBezTo>
                    <a:pt x="124987" y="70371"/>
                    <a:pt x="130026" y="74085"/>
                    <a:pt x="128692" y="83287"/>
                  </a:cubicBezTo>
                  <a:lnTo>
                    <a:pt x="124101" y="112681"/>
                  </a:lnTo>
                  <a:cubicBezTo>
                    <a:pt x="118034" y="151438"/>
                    <a:pt x="95812" y="172222"/>
                    <a:pt x="53464" y="172222"/>
                  </a:cubicBezTo>
                  <a:cubicBezTo>
                    <a:pt x="20736" y="172222"/>
                    <a:pt x="0" y="158563"/>
                    <a:pt x="0" y="122034"/>
                  </a:cubicBezTo>
                  <a:cubicBezTo>
                    <a:pt x="0" y="111795"/>
                    <a:pt x="1181" y="99765"/>
                    <a:pt x="3410" y="86106"/>
                  </a:cubicBezTo>
                  <a:lnTo>
                    <a:pt x="3410" y="86411"/>
                  </a:lnTo>
                  <a:close/>
                  <a:moveTo>
                    <a:pt x="156391" y="171631"/>
                  </a:moveTo>
                  <a:cubicBezTo>
                    <a:pt x="147799" y="171631"/>
                    <a:pt x="143208" y="166430"/>
                    <a:pt x="144685" y="157229"/>
                  </a:cubicBezTo>
                  <a:lnTo>
                    <a:pt x="167354" y="13659"/>
                  </a:lnTo>
                  <a:cubicBezTo>
                    <a:pt x="169126" y="2819"/>
                    <a:pt x="175936" y="152"/>
                    <a:pt x="185118" y="152"/>
                  </a:cubicBezTo>
                  <a:cubicBezTo>
                    <a:pt x="191929" y="152"/>
                    <a:pt x="199339" y="2667"/>
                    <a:pt x="199339" y="11135"/>
                  </a:cubicBezTo>
                  <a:cubicBezTo>
                    <a:pt x="199339" y="12621"/>
                    <a:pt x="198892" y="16335"/>
                    <a:pt x="198149" y="20193"/>
                  </a:cubicBezTo>
                  <a:lnTo>
                    <a:pt x="179346" y="138522"/>
                  </a:lnTo>
                  <a:cubicBezTo>
                    <a:pt x="179041" y="140303"/>
                    <a:pt x="179632" y="140741"/>
                    <a:pt x="181270" y="140741"/>
                  </a:cubicBezTo>
                  <a:lnTo>
                    <a:pt x="232362" y="140741"/>
                  </a:lnTo>
                  <a:cubicBezTo>
                    <a:pt x="242135" y="140741"/>
                    <a:pt x="245545" y="147133"/>
                    <a:pt x="245545" y="154257"/>
                  </a:cubicBezTo>
                  <a:cubicBezTo>
                    <a:pt x="245545" y="163611"/>
                    <a:pt x="239620" y="171631"/>
                    <a:pt x="226733" y="171631"/>
                  </a:cubicBezTo>
                  <a:lnTo>
                    <a:pt x="156391" y="171631"/>
                  </a:lnTo>
                  <a:close/>
                  <a:moveTo>
                    <a:pt x="291751" y="163611"/>
                  </a:moveTo>
                  <a:cubicBezTo>
                    <a:pt x="288036" y="170736"/>
                    <a:pt x="284197" y="172669"/>
                    <a:pt x="277825" y="172669"/>
                  </a:cubicBezTo>
                  <a:cubicBezTo>
                    <a:pt x="269091" y="172669"/>
                    <a:pt x="260937" y="168059"/>
                    <a:pt x="260937" y="159896"/>
                  </a:cubicBezTo>
                  <a:cubicBezTo>
                    <a:pt x="260937" y="157372"/>
                    <a:pt x="261680" y="155000"/>
                    <a:pt x="263166" y="152029"/>
                  </a:cubicBezTo>
                  <a:lnTo>
                    <a:pt x="330098" y="22422"/>
                  </a:lnTo>
                  <a:cubicBezTo>
                    <a:pt x="339871" y="3562"/>
                    <a:pt x="345205" y="152"/>
                    <a:pt x="356911" y="152"/>
                  </a:cubicBezTo>
                  <a:cubicBezTo>
                    <a:pt x="369646" y="152"/>
                    <a:pt x="373942" y="5344"/>
                    <a:pt x="377485" y="22422"/>
                  </a:cubicBezTo>
                  <a:lnTo>
                    <a:pt x="404155" y="153219"/>
                  </a:lnTo>
                  <a:cubicBezTo>
                    <a:pt x="404593" y="155886"/>
                    <a:pt x="404889" y="157667"/>
                    <a:pt x="404889" y="159601"/>
                  </a:cubicBezTo>
                  <a:cubicBezTo>
                    <a:pt x="404889" y="169107"/>
                    <a:pt x="394373" y="172517"/>
                    <a:pt x="385782" y="172517"/>
                  </a:cubicBezTo>
                  <a:cubicBezTo>
                    <a:pt x="380895" y="172517"/>
                    <a:pt x="376304" y="169993"/>
                    <a:pt x="374828" y="163163"/>
                  </a:cubicBezTo>
                  <a:lnTo>
                    <a:pt x="370237" y="140894"/>
                  </a:lnTo>
                  <a:cubicBezTo>
                    <a:pt x="369789" y="138665"/>
                    <a:pt x="369056" y="137484"/>
                    <a:pt x="367122" y="137484"/>
                  </a:cubicBezTo>
                  <a:lnTo>
                    <a:pt x="307753" y="137484"/>
                  </a:lnTo>
                  <a:cubicBezTo>
                    <a:pt x="305819" y="137484"/>
                    <a:pt x="304791" y="138665"/>
                    <a:pt x="303600" y="140894"/>
                  </a:cubicBezTo>
                  <a:lnTo>
                    <a:pt x="291903" y="163458"/>
                  </a:lnTo>
                  <a:lnTo>
                    <a:pt x="291751" y="163611"/>
                  </a:lnTo>
                  <a:close/>
                  <a:moveTo>
                    <a:pt x="360902" y="106747"/>
                  </a:moveTo>
                  <a:cubicBezTo>
                    <a:pt x="362388" y="106747"/>
                    <a:pt x="363426" y="106004"/>
                    <a:pt x="363426" y="104966"/>
                  </a:cubicBezTo>
                  <a:cubicBezTo>
                    <a:pt x="363426" y="104518"/>
                    <a:pt x="363426" y="103775"/>
                    <a:pt x="363131" y="101851"/>
                  </a:cubicBezTo>
                  <a:lnTo>
                    <a:pt x="354540" y="47654"/>
                  </a:lnTo>
                  <a:cubicBezTo>
                    <a:pt x="354092" y="44244"/>
                    <a:pt x="354092" y="39786"/>
                    <a:pt x="352320" y="39786"/>
                  </a:cubicBezTo>
                  <a:cubicBezTo>
                    <a:pt x="350539" y="39786"/>
                    <a:pt x="349653" y="44244"/>
                    <a:pt x="347872" y="47654"/>
                  </a:cubicBezTo>
                  <a:lnTo>
                    <a:pt x="321659" y="101851"/>
                  </a:lnTo>
                  <a:cubicBezTo>
                    <a:pt x="320621" y="103775"/>
                    <a:pt x="320478" y="104813"/>
                    <a:pt x="320478" y="105261"/>
                  </a:cubicBezTo>
                  <a:cubicBezTo>
                    <a:pt x="320478" y="106299"/>
                    <a:pt x="320916" y="106747"/>
                    <a:pt x="322402" y="106747"/>
                  </a:cubicBezTo>
                  <a:lnTo>
                    <a:pt x="360902" y="106747"/>
                  </a:lnTo>
                  <a:close/>
                  <a:moveTo>
                    <a:pt x="498186" y="30290"/>
                  </a:moveTo>
                  <a:cubicBezTo>
                    <a:pt x="488413" y="30290"/>
                    <a:pt x="472564" y="34147"/>
                    <a:pt x="472564" y="48101"/>
                  </a:cubicBezTo>
                  <a:cubicBezTo>
                    <a:pt x="472564" y="55226"/>
                    <a:pt x="479679" y="59836"/>
                    <a:pt x="490337" y="65027"/>
                  </a:cubicBezTo>
                  <a:lnTo>
                    <a:pt x="511073" y="75124"/>
                  </a:lnTo>
                  <a:cubicBezTo>
                    <a:pt x="533286" y="85963"/>
                    <a:pt x="545583" y="100508"/>
                    <a:pt x="545583" y="120853"/>
                  </a:cubicBezTo>
                  <a:cubicBezTo>
                    <a:pt x="545583" y="154705"/>
                    <a:pt x="515817" y="172517"/>
                    <a:pt x="482489" y="172517"/>
                  </a:cubicBezTo>
                  <a:cubicBezTo>
                    <a:pt x="458800" y="172517"/>
                    <a:pt x="437769" y="164649"/>
                    <a:pt x="423405" y="148314"/>
                  </a:cubicBezTo>
                  <a:cubicBezTo>
                    <a:pt x="421415" y="146123"/>
                    <a:pt x="420305" y="143266"/>
                    <a:pt x="420291" y="140303"/>
                  </a:cubicBezTo>
                  <a:cubicBezTo>
                    <a:pt x="420291" y="131693"/>
                    <a:pt x="429035" y="123082"/>
                    <a:pt x="438807" y="123082"/>
                  </a:cubicBezTo>
                  <a:cubicBezTo>
                    <a:pt x="442951" y="123082"/>
                    <a:pt x="446361" y="125749"/>
                    <a:pt x="449313" y="128426"/>
                  </a:cubicBezTo>
                  <a:cubicBezTo>
                    <a:pt x="457171" y="135846"/>
                    <a:pt x="466935" y="142380"/>
                    <a:pt x="485013" y="142380"/>
                  </a:cubicBezTo>
                  <a:cubicBezTo>
                    <a:pt x="495967" y="142380"/>
                    <a:pt x="511816" y="138227"/>
                    <a:pt x="511816" y="123520"/>
                  </a:cubicBezTo>
                  <a:cubicBezTo>
                    <a:pt x="511816" y="115510"/>
                    <a:pt x="506187" y="109271"/>
                    <a:pt x="495224" y="104223"/>
                  </a:cubicBezTo>
                  <a:lnTo>
                    <a:pt x="473897" y="94126"/>
                  </a:lnTo>
                  <a:cubicBezTo>
                    <a:pt x="451685" y="83591"/>
                    <a:pt x="438655" y="71561"/>
                    <a:pt x="438655" y="49292"/>
                  </a:cubicBezTo>
                  <a:cubicBezTo>
                    <a:pt x="438655" y="18412"/>
                    <a:pt x="466944" y="0"/>
                    <a:pt x="499967" y="0"/>
                  </a:cubicBezTo>
                  <a:cubicBezTo>
                    <a:pt x="517741" y="0"/>
                    <a:pt x="535657" y="3715"/>
                    <a:pt x="550316" y="16631"/>
                  </a:cubicBezTo>
                  <a:cubicBezTo>
                    <a:pt x="553279" y="19155"/>
                    <a:pt x="555650" y="22565"/>
                    <a:pt x="555650" y="27165"/>
                  </a:cubicBezTo>
                  <a:cubicBezTo>
                    <a:pt x="555650" y="35785"/>
                    <a:pt x="547059" y="44396"/>
                    <a:pt x="538467" y="44396"/>
                  </a:cubicBezTo>
                  <a:cubicBezTo>
                    <a:pt x="534324" y="44396"/>
                    <a:pt x="530466" y="42167"/>
                    <a:pt x="528257" y="40529"/>
                  </a:cubicBezTo>
                  <a:cubicBezTo>
                    <a:pt x="519513" y="33699"/>
                    <a:pt x="509740" y="30290"/>
                    <a:pt x="497891" y="30290"/>
                  </a:cubicBezTo>
                  <a:lnTo>
                    <a:pt x="498186" y="30290"/>
                  </a:lnTo>
                  <a:close/>
                  <a:moveTo>
                    <a:pt x="620668" y="32071"/>
                  </a:moveTo>
                  <a:cubicBezTo>
                    <a:pt x="618887" y="32071"/>
                    <a:pt x="618439" y="32518"/>
                    <a:pt x="618296" y="34300"/>
                  </a:cubicBezTo>
                  <a:lnTo>
                    <a:pt x="613115" y="66065"/>
                  </a:lnTo>
                  <a:cubicBezTo>
                    <a:pt x="612819" y="67847"/>
                    <a:pt x="613410" y="68294"/>
                    <a:pt x="615039" y="68294"/>
                  </a:cubicBezTo>
                  <a:lnTo>
                    <a:pt x="661387" y="68294"/>
                  </a:lnTo>
                  <a:cubicBezTo>
                    <a:pt x="671160" y="68294"/>
                    <a:pt x="674570" y="74676"/>
                    <a:pt x="674570" y="81810"/>
                  </a:cubicBezTo>
                  <a:cubicBezTo>
                    <a:pt x="674570" y="91164"/>
                    <a:pt x="668646" y="99174"/>
                    <a:pt x="655758" y="99174"/>
                  </a:cubicBezTo>
                  <a:lnTo>
                    <a:pt x="610153" y="99174"/>
                  </a:lnTo>
                  <a:cubicBezTo>
                    <a:pt x="608371" y="99174"/>
                    <a:pt x="607628" y="99622"/>
                    <a:pt x="607486" y="101403"/>
                  </a:cubicBezTo>
                  <a:lnTo>
                    <a:pt x="598446" y="159153"/>
                  </a:lnTo>
                  <a:cubicBezTo>
                    <a:pt x="596675" y="169993"/>
                    <a:pt x="589864" y="172669"/>
                    <a:pt x="580682" y="172669"/>
                  </a:cubicBezTo>
                  <a:cubicBezTo>
                    <a:pt x="573862" y="172669"/>
                    <a:pt x="566461" y="170145"/>
                    <a:pt x="566461" y="161677"/>
                  </a:cubicBezTo>
                  <a:cubicBezTo>
                    <a:pt x="566461" y="160201"/>
                    <a:pt x="566909" y="156486"/>
                    <a:pt x="567642" y="152629"/>
                  </a:cubicBezTo>
                  <a:lnTo>
                    <a:pt x="589417" y="15735"/>
                  </a:lnTo>
                  <a:cubicBezTo>
                    <a:pt x="590893" y="6382"/>
                    <a:pt x="595789" y="1333"/>
                    <a:pt x="605561" y="1333"/>
                  </a:cubicBezTo>
                  <a:lnTo>
                    <a:pt x="688343" y="1333"/>
                  </a:lnTo>
                  <a:cubicBezTo>
                    <a:pt x="698116" y="1333"/>
                    <a:pt x="701526" y="7725"/>
                    <a:pt x="701526" y="14850"/>
                  </a:cubicBezTo>
                  <a:cubicBezTo>
                    <a:pt x="701526" y="24203"/>
                    <a:pt x="695601" y="32223"/>
                    <a:pt x="682714" y="32223"/>
                  </a:cubicBezTo>
                  <a:lnTo>
                    <a:pt x="620668" y="32223"/>
                  </a:lnTo>
                  <a:lnTo>
                    <a:pt x="620668" y="32071"/>
                  </a:lnTo>
                  <a:close/>
                  <a:moveTo>
                    <a:pt x="703155" y="163611"/>
                  </a:moveTo>
                  <a:cubicBezTo>
                    <a:pt x="699449" y="170736"/>
                    <a:pt x="695601" y="172669"/>
                    <a:pt x="689229" y="172669"/>
                  </a:cubicBezTo>
                  <a:cubicBezTo>
                    <a:pt x="680495" y="172669"/>
                    <a:pt x="672351" y="168059"/>
                    <a:pt x="672351" y="159896"/>
                  </a:cubicBezTo>
                  <a:cubicBezTo>
                    <a:pt x="672351" y="157372"/>
                    <a:pt x="673094" y="155000"/>
                    <a:pt x="674570" y="152029"/>
                  </a:cubicBezTo>
                  <a:lnTo>
                    <a:pt x="741512" y="22422"/>
                  </a:lnTo>
                  <a:cubicBezTo>
                    <a:pt x="751284" y="3562"/>
                    <a:pt x="756618" y="152"/>
                    <a:pt x="768315" y="152"/>
                  </a:cubicBezTo>
                  <a:cubicBezTo>
                    <a:pt x="781050" y="152"/>
                    <a:pt x="785346" y="5344"/>
                    <a:pt x="788756" y="22422"/>
                  </a:cubicBezTo>
                  <a:lnTo>
                    <a:pt x="815407" y="153219"/>
                  </a:lnTo>
                  <a:cubicBezTo>
                    <a:pt x="815854" y="155886"/>
                    <a:pt x="816150" y="157667"/>
                    <a:pt x="816150" y="159601"/>
                  </a:cubicBezTo>
                  <a:cubicBezTo>
                    <a:pt x="816150" y="169107"/>
                    <a:pt x="805634" y="172517"/>
                    <a:pt x="797043" y="172517"/>
                  </a:cubicBezTo>
                  <a:cubicBezTo>
                    <a:pt x="792156" y="172517"/>
                    <a:pt x="787565" y="169993"/>
                    <a:pt x="786089" y="163163"/>
                  </a:cubicBezTo>
                  <a:lnTo>
                    <a:pt x="781498" y="140894"/>
                  </a:lnTo>
                  <a:cubicBezTo>
                    <a:pt x="781050" y="138665"/>
                    <a:pt x="780307" y="137484"/>
                    <a:pt x="778383" y="137484"/>
                  </a:cubicBezTo>
                  <a:lnTo>
                    <a:pt x="718995" y="137484"/>
                  </a:lnTo>
                  <a:cubicBezTo>
                    <a:pt x="717071" y="137484"/>
                    <a:pt x="716042" y="138665"/>
                    <a:pt x="714851" y="140894"/>
                  </a:cubicBezTo>
                  <a:lnTo>
                    <a:pt x="703155" y="163458"/>
                  </a:lnTo>
                  <a:lnTo>
                    <a:pt x="703155" y="163611"/>
                  </a:lnTo>
                  <a:close/>
                  <a:moveTo>
                    <a:pt x="772316" y="106747"/>
                  </a:moveTo>
                  <a:cubicBezTo>
                    <a:pt x="773792" y="106747"/>
                    <a:pt x="774830" y="106004"/>
                    <a:pt x="774830" y="104966"/>
                  </a:cubicBezTo>
                  <a:cubicBezTo>
                    <a:pt x="774830" y="104518"/>
                    <a:pt x="774830" y="103775"/>
                    <a:pt x="774535" y="101851"/>
                  </a:cubicBezTo>
                  <a:lnTo>
                    <a:pt x="765943" y="47654"/>
                  </a:lnTo>
                  <a:cubicBezTo>
                    <a:pt x="765505" y="44244"/>
                    <a:pt x="765505" y="39786"/>
                    <a:pt x="763724" y="39786"/>
                  </a:cubicBezTo>
                  <a:cubicBezTo>
                    <a:pt x="761943" y="39786"/>
                    <a:pt x="761057" y="44244"/>
                    <a:pt x="759285" y="47654"/>
                  </a:cubicBezTo>
                  <a:lnTo>
                    <a:pt x="733215" y="101851"/>
                  </a:lnTo>
                  <a:cubicBezTo>
                    <a:pt x="732177" y="103775"/>
                    <a:pt x="732034" y="104813"/>
                    <a:pt x="732034" y="105261"/>
                  </a:cubicBezTo>
                  <a:cubicBezTo>
                    <a:pt x="732034" y="106299"/>
                    <a:pt x="732473" y="106747"/>
                    <a:pt x="733958" y="106747"/>
                  </a:cubicBezTo>
                  <a:lnTo>
                    <a:pt x="772316" y="106747"/>
                  </a:lnTo>
                  <a:close/>
                  <a:moveTo>
                    <a:pt x="909742" y="30290"/>
                  </a:moveTo>
                  <a:cubicBezTo>
                    <a:pt x="899970" y="30290"/>
                    <a:pt x="884120" y="34147"/>
                    <a:pt x="884120" y="48101"/>
                  </a:cubicBezTo>
                  <a:cubicBezTo>
                    <a:pt x="884120" y="55226"/>
                    <a:pt x="891235" y="59836"/>
                    <a:pt x="901894" y="65027"/>
                  </a:cubicBezTo>
                  <a:lnTo>
                    <a:pt x="922630" y="75124"/>
                  </a:lnTo>
                  <a:cubicBezTo>
                    <a:pt x="944842" y="85963"/>
                    <a:pt x="957139" y="100508"/>
                    <a:pt x="957139" y="120853"/>
                  </a:cubicBezTo>
                  <a:cubicBezTo>
                    <a:pt x="957139" y="154705"/>
                    <a:pt x="927364" y="172517"/>
                    <a:pt x="894045" y="172517"/>
                  </a:cubicBezTo>
                  <a:cubicBezTo>
                    <a:pt x="870347" y="172517"/>
                    <a:pt x="849325" y="164649"/>
                    <a:pt x="834962" y="148314"/>
                  </a:cubicBezTo>
                  <a:cubicBezTo>
                    <a:pt x="832971" y="146123"/>
                    <a:pt x="831856" y="143266"/>
                    <a:pt x="831847" y="140303"/>
                  </a:cubicBezTo>
                  <a:cubicBezTo>
                    <a:pt x="831847" y="131693"/>
                    <a:pt x="840581" y="123082"/>
                    <a:pt x="850363" y="123082"/>
                  </a:cubicBezTo>
                  <a:cubicBezTo>
                    <a:pt x="854507" y="123082"/>
                    <a:pt x="857907" y="125749"/>
                    <a:pt x="860870" y="128426"/>
                  </a:cubicBezTo>
                  <a:cubicBezTo>
                    <a:pt x="868718" y="135846"/>
                    <a:pt x="878500" y="142380"/>
                    <a:pt x="896560" y="142380"/>
                  </a:cubicBezTo>
                  <a:cubicBezTo>
                    <a:pt x="907523" y="142380"/>
                    <a:pt x="923373" y="138227"/>
                    <a:pt x="923373" y="123520"/>
                  </a:cubicBezTo>
                  <a:cubicBezTo>
                    <a:pt x="923373" y="115510"/>
                    <a:pt x="917743" y="109271"/>
                    <a:pt x="906780" y="104223"/>
                  </a:cubicBezTo>
                  <a:lnTo>
                    <a:pt x="885606" y="94126"/>
                  </a:lnTo>
                  <a:cubicBezTo>
                    <a:pt x="863394" y="83591"/>
                    <a:pt x="850363" y="71561"/>
                    <a:pt x="850363" y="49292"/>
                  </a:cubicBezTo>
                  <a:cubicBezTo>
                    <a:pt x="850363" y="18412"/>
                    <a:pt x="878643" y="0"/>
                    <a:pt x="911666" y="0"/>
                  </a:cubicBezTo>
                  <a:cubicBezTo>
                    <a:pt x="929592" y="0"/>
                    <a:pt x="947356" y="3715"/>
                    <a:pt x="962025" y="16631"/>
                  </a:cubicBezTo>
                  <a:cubicBezTo>
                    <a:pt x="964987" y="19155"/>
                    <a:pt x="967349" y="22565"/>
                    <a:pt x="967349" y="27165"/>
                  </a:cubicBezTo>
                  <a:cubicBezTo>
                    <a:pt x="967349" y="35785"/>
                    <a:pt x="958768" y="44396"/>
                    <a:pt x="950319" y="44396"/>
                  </a:cubicBezTo>
                  <a:cubicBezTo>
                    <a:pt x="946175" y="44396"/>
                    <a:pt x="942327" y="42167"/>
                    <a:pt x="940108" y="40529"/>
                  </a:cubicBezTo>
                  <a:cubicBezTo>
                    <a:pt x="931364" y="33699"/>
                    <a:pt x="921591" y="30290"/>
                    <a:pt x="909895" y="30290"/>
                  </a:cubicBezTo>
                  <a:lnTo>
                    <a:pt x="909742" y="30290"/>
                  </a:lnTo>
                  <a:close/>
                  <a:moveTo>
                    <a:pt x="1097232" y="1191"/>
                  </a:moveTo>
                  <a:cubicBezTo>
                    <a:pt x="1107005" y="1191"/>
                    <a:pt x="1110415" y="7572"/>
                    <a:pt x="1110415" y="14697"/>
                  </a:cubicBezTo>
                  <a:cubicBezTo>
                    <a:pt x="1110415" y="24051"/>
                    <a:pt x="1104491" y="32071"/>
                    <a:pt x="1091603" y="32071"/>
                  </a:cubicBezTo>
                  <a:lnTo>
                    <a:pt x="1031919" y="32071"/>
                  </a:lnTo>
                  <a:cubicBezTo>
                    <a:pt x="1030148" y="32071"/>
                    <a:pt x="1029557" y="32518"/>
                    <a:pt x="1029262" y="34300"/>
                  </a:cubicBezTo>
                  <a:lnTo>
                    <a:pt x="1024366" y="66065"/>
                  </a:lnTo>
                  <a:cubicBezTo>
                    <a:pt x="1024071" y="67847"/>
                    <a:pt x="1024366" y="68294"/>
                    <a:pt x="1026147" y="68294"/>
                  </a:cubicBezTo>
                  <a:lnTo>
                    <a:pt x="1077239" y="68294"/>
                  </a:lnTo>
                  <a:cubicBezTo>
                    <a:pt x="1087012" y="68294"/>
                    <a:pt x="1090422" y="74676"/>
                    <a:pt x="1090422" y="81801"/>
                  </a:cubicBezTo>
                  <a:cubicBezTo>
                    <a:pt x="1090422" y="91154"/>
                    <a:pt x="1084498" y="99174"/>
                    <a:pt x="1071610" y="99174"/>
                  </a:cubicBezTo>
                  <a:lnTo>
                    <a:pt x="1021261" y="99174"/>
                  </a:lnTo>
                  <a:cubicBezTo>
                    <a:pt x="1019480" y="99174"/>
                    <a:pt x="1019042" y="99622"/>
                    <a:pt x="1018746" y="101403"/>
                  </a:cubicBezTo>
                  <a:lnTo>
                    <a:pt x="1012822" y="138665"/>
                  </a:lnTo>
                  <a:cubicBezTo>
                    <a:pt x="1012527" y="140446"/>
                    <a:pt x="1012822" y="140894"/>
                    <a:pt x="1014594" y="140894"/>
                  </a:cubicBezTo>
                  <a:lnTo>
                    <a:pt x="1077392" y="140894"/>
                  </a:lnTo>
                  <a:cubicBezTo>
                    <a:pt x="1087165" y="140894"/>
                    <a:pt x="1090565" y="147276"/>
                    <a:pt x="1090565" y="154400"/>
                  </a:cubicBezTo>
                  <a:cubicBezTo>
                    <a:pt x="1090565" y="163754"/>
                    <a:pt x="1084650" y="171774"/>
                    <a:pt x="1071763" y="171774"/>
                  </a:cubicBezTo>
                  <a:lnTo>
                    <a:pt x="990162" y="171774"/>
                  </a:lnTo>
                  <a:cubicBezTo>
                    <a:pt x="980827" y="171774"/>
                    <a:pt x="976684" y="166583"/>
                    <a:pt x="978170" y="157372"/>
                  </a:cubicBezTo>
                  <a:lnTo>
                    <a:pt x="1000382" y="15888"/>
                  </a:lnTo>
                  <a:cubicBezTo>
                    <a:pt x="1001859" y="6534"/>
                    <a:pt x="1007040" y="1486"/>
                    <a:pt x="1016822" y="1486"/>
                  </a:cubicBezTo>
                  <a:lnTo>
                    <a:pt x="1097232" y="1486"/>
                  </a:lnTo>
                  <a:lnTo>
                    <a:pt x="1097232" y="1191"/>
                  </a:lnTo>
                  <a:close/>
                  <a:moveTo>
                    <a:pt x="1190682" y="108233"/>
                  </a:moveTo>
                  <a:cubicBezTo>
                    <a:pt x="1189644" y="106004"/>
                    <a:pt x="1189196" y="106004"/>
                    <a:pt x="1187272" y="106004"/>
                  </a:cubicBezTo>
                  <a:lnTo>
                    <a:pt x="1160469" y="106004"/>
                  </a:lnTo>
                  <a:cubicBezTo>
                    <a:pt x="1158688" y="106004"/>
                    <a:pt x="1157954" y="106451"/>
                    <a:pt x="1157802" y="108233"/>
                  </a:cubicBezTo>
                  <a:lnTo>
                    <a:pt x="1149810" y="159153"/>
                  </a:lnTo>
                  <a:cubicBezTo>
                    <a:pt x="1148029" y="169993"/>
                    <a:pt x="1141219" y="172669"/>
                    <a:pt x="1132037" y="172669"/>
                  </a:cubicBezTo>
                  <a:cubicBezTo>
                    <a:pt x="1125226" y="172669"/>
                    <a:pt x="1117816" y="170145"/>
                    <a:pt x="1117816" y="161677"/>
                  </a:cubicBezTo>
                  <a:cubicBezTo>
                    <a:pt x="1117816" y="160201"/>
                    <a:pt x="1118264" y="156486"/>
                    <a:pt x="1119007" y="152629"/>
                  </a:cubicBezTo>
                  <a:lnTo>
                    <a:pt x="1140771" y="15735"/>
                  </a:lnTo>
                  <a:cubicBezTo>
                    <a:pt x="1142257" y="6382"/>
                    <a:pt x="1147439" y="1333"/>
                    <a:pt x="1157211" y="1333"/>
                  </a:cubicBezTo>
                  <a:lnTo>
                    <a:pt x="1215857" y="1333"/>
                  </a:lnTo>
                  <a:cubicBezTo>
                    <a:pt x="1242222" y="1333"/>
                    <a:pt x="1260139" y="16335"/>
                    <a:pt x="1260139" y="43501"/>
                  </a:cubicBezTo>
                  <a:cubicBezTo>
                    <a:pt x="1260139" y="67999"/>
                    <a:pt x="1249175" y="92945"/>
                    <a:pt x="1224296" y="103184"/>
                  </a:cubicBezTo>
                  <a:cubicBezTo>
                    <a:pt x="1223115" y="103632"/>
                    <a:pt x="1222524" y="104223"/>
                    <a:pt x="1222524" y="104966"/>
                  </a:cubicBezTo>
                  <a:cubicBezTo>
                    <a:pt x="1222524" y="105413"/>
                    <a:pt x="1222820" y="106004"/>
                    <a:pt x="1222820" y="106004"/>
                  </a:cubicBezTo>
                  <a:lnTo>
                    <a:pt x="1242365" y="150847"/>
                  </a:lnTo>
                  <a:cubicBezTo>
                    <a:pt x="1243108" y="152771"/>
                    <a:pt x="1244879" y="155743"/>
                    <a:pt x="1244879" y="159458"/>
                  </a:cubicBezTo>
                  <a:cubicBezTo>
                    <a:pt x="1244879" y="168069"/>
                    <a:pt x="1233630" y="172964"/>
                    <a:pt x="1225782" y="172964"/>
                  </a:cubicBezTo>
                  <a:cubicBezTo>
                    <a:pt x="1220448" y="172964"/>
                    <a:pt x="1216743" y="170288"/>
                    <a:pt x="1214228" y="164354"/>
                  </a:cubicBezTo>
                  <a:lnTo>
                    <a:pt x="1190978" y="108528"/>
                  </a:lnTo>
                  <a:lnTo>
                    <a:pt x="1190682" y="108233"/>
                  </a:lnTo>
                  <a:close/>
                  <a:moveTo>
                    <a:pt x="1205046" y="75419"/>
                  </a:moveTo>
                  <a:cubicBezTo>
                    <a:pt x="1220448" y="75419"/>
                    <a:pt x="1226372" y="61017"/>
                    <a:pt x="1226372" y="49139"/>
                  </a:cubicBezTo>
                  <a:cubicBezTo>
                    <a:pt x="1226372" y="38310"/>
                    <a:pt x="1219562" y="31775"/>
                    <a:pt x="1209789" y="31775"/>
                  </a:cubicBezTo>
                  <a:lnTo>
                    <a:pt x="1172166" y="31775"/>
                  </a:lnTo>
                  <a:cubicBezTo>
                    <a:pt x="1170394" y="31775"/>
                    <a:pt x="1169651" y="32223"/>
                    <a:pt x="1169499" y="34004"/>
                  </a:cubicBezTo>
                  <a:lnTo>
                    <a:pt x="1163431" y="73200"/>
                  </a:lnTo>
                  <a:cubicBezTo>
                    <a:pt x="1163136" y="74981"/>
                    <a:pt x="1163726" y="75419"/>
                    <a:pt x="1165355" y="75419"/>
                  </a:cubicBezTo>
                  <a:lnTo>
                    <a:pt x="1205198" y="75419"/>
                  </a:lnTo>
                  <a:lnTo>
                    <a:pt x="1205046" y="75419"/>
                  </a:ln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7" name="Freeform: Shape 55">
              <a:extLst>
                <a:ext uri="{FF2B5EF4-FFF2-40B4-BE49-F238E27FC236}">
                  <a16:creationId xmlns:a16="http://schemas.microsoft.com/office/drawing/2014/main" id="{A1F740D2-2528-4277-B1FF-13EE8ADBCAA9}"/>
                </a:ext>
              </a:extLst>
            </p:cNvPr>
            <p:cNvSpPr/>
            <p:nvPr/>
          </p:nvSpPr>
          <p:spPr>
            <a:xfrm>
              <a:off x="4069517" y="3293373"/>
              <a:ext cx="1273016" cy="164201"/>
            </a:xfrm>
            <a:custGeom>
              <a:avLst/>
              <a:gdLst>
                <a:gd name="connsiteX0" fmla="*/ 76714 w 1273016"/>
                <a:gd name="connsiteY0" fmla="*/ 0 h 164201"/>
                <a:gd name="connsiteX1" fmla="*/ 127654 w 1273016"/>
                <a:gd name="connsiteY1" fmla="*/ 48254 h 164201"/>
                <a:gd name="connsiteX2" fmla="*/ 124701 w 1273016"/>
                <a:gd name="connsiteY2" fmla="*/ 82096 h 164201"/>
                <a:gd name="connsiteX3" fmla="*/ 50940 w 1273016"/>
                <a:gd name="connsiteY3" fmla="*/ 164201 h 164201"/>
                <a:gd name="connsiteX4" fmla="*/ 0 w 1273016"/>
                <a:gd name="connsiteY4" fmla="*/ 116396 h 164201"/>
                <a:gd name="connsiteX5" fmla="*/ 3258 w 1273016"/>
                <a:gd name="connsiteY5" fmla="*/ 82096 h 164201"/>
                <a:gd name="connsiteX6" fmla="*/ 76714 w 1273016"/>
                <a:gd name="connsiteY6" fmla="*/ 0 h 164201"/>
                <a:gd name="connsiteX7" fmla="*/ 96403 w 1273016"/>
                <a:gd name="connsiteY7" fmla="*/ 52702 h 164201"/>
                <a:gd name="connsiteX8" fmla="*/ 72266 w 1273016"/>
                <a:gd name="connsiteY8" fmla="*/ 28946 h 164201"/>
                <a:gd name="connsiteX9" fmla="*/ 34642 w 1273016"/>
                <a:gd name="connsiteY9" fmla="*/ 82096 h 164201"/>
                <a:gd name="connsiteX10" fmla="*/ 31099 w 1273016"/>
                <a:gd name="connsiteY10" fmla="*/ 111642 h 164201"/>
                <a:gd name="connsiteX11" fmla="*/ 55531 w 1273016"/>
                <a:gd name="connsiteY11" fmla="*/ 135255 h 164201"/>
                <a:gd name="connsiteX12" fmla="*/ 93155 w 1273016"/>
                <a:gd name="connsiteY12" fmla="*/ 82096 h 164201"/>
                <a:gd name="connsiteX13" fmla="*/ 96403 w 1273016"/>
                <a:gd name="connsiteY13" fmla="*/ 52702 h 164201"/>
                <a:gd name="connsiteX14" fmla="*/ 209398 w 1273016"/>
                <a:gd name="connsiteY14" fmla="*/ 28651 h 164201"/>
                <a:gd name="connsiteX15" fmla="*/ 184966 w 1273016"/>
                <a:gd name="connsiteY15" fmla="*/ 45729 h 164201"/>
                <a:gd name="connsiteX16" fmla="*/ 201997 w 1273016"/>
                <a:gd name="connsiteY16" fmla="*/ 61760 h 164201"/>
                <a:gd name="connsiteX17" fmla="*/ 221694 w 1273016"/>
                <a:gd name="connsiteY17" fmla="*/ 71266 h 164201"/>
                <a:gd name="connsiteX18" fmla="*/ 254422 w 1273016"/>
                <a:gd name="connsiteY18" fmla="*/ 114910 h 164201"/>
                <a:gd name="connsiteX19" fmla="*/ 194443 w 1273016"/>
                <a:gd name="connsiteY19" fmla="*/ 164049 h 164201"/>
                <a:gd name="connsiteX20" fmla="*/ 138170 w 1273016"/>
                <a:gd name="connsiteY20" fmla="*/ 141037 h 164201"/>
                <a:gd name="connsiteX21" fmla="*/ 135207 w 1273016"/>
                <a:gd name="connsiteY21" fmla="*/ 133321 h 164201"/>
                <a:gd name="connsiteX22" fmla="*/ 152829 w 1273016"/>
                <a:gd name="connsiteY22" fmla="*/ 116986 h 164201"/>
                <a:gd name="connsiteX23" fmla="*/ 162906 w 1273016"/>
                <a:gd name="connsiteY23" fmla="*/ 122187 h 164201"/>
                <a:gd name="connsiteX24" fmla="*/ 196815 w 1273016"/>
                <a:gd name="connsiteY24" fmla="*/ 135398 h 164201"/>
                <a:gd name="connsiteX25" fmla="*/ 222437 w 1273016"/>
                <a:gd name="connsiteY25" fmla="*/ 117434 h 164201"/>
                <a:gd name="connsiteX26" fmla="*/ 206588 w 1273016"/>
                <a:gd name="connsiteY26" fmla="*/ 99022 h 164201"/>
                <a:gd name="connsiteX27" fmla="*/ 186300 w 1273016"/>
                <a:gd name="connsiteY27" fmla="*/ 89525 h 164201"/>
                <a:gd name="connsiteX28" fmla="*/ 152829 w 1273016"/>
                <a:gd name="connsiteY28" fmla="*/ 46911 h 164201"/>
                <a:gd name="connsiteX29" fmla="*/ 211179 w 1273016"/>
                <a:gd name="connsiteY29" fmla="*/ 0 h 164201"/>
                <a:gd name="connsiteX30" fmla="*/ 259013 w 1273016"/>
                <a:gd name="connsiteY30" fmla="*/ 15888 h 164201"/>
                <a:gd name="connsiteX31" fmla="*/ 264195 w 1273016"/>
                <a:gd name="connsiteY31" fmla="*/ 25975 h 164201"/>
                <a:gd name="connsiteX32" fmla="*/ 247907 w 1273016"/>
                <a:gd name="connsiteY32" fmla="*/ 42310 h 164201"/>
                <a:gd name="connsiteX33" fmla="*/ 238135 w 1273016"/>
                <a:gd name="connsiteY33" fmla="*/ 38595 h 164201"/>
                <a:gd name="connsiteX34" fmla="*/ 209255 w 1273016"/>
                <a:gd name="connsiteY34" fmla="*/ 28804 h 164201"/>
                <a:gd name="connsiteX35" fmla="*/ 209398 w 1273016"/>
                <a:gd name="connsiteY35" fmla="*/ 28651 h 164201"/>
                <a:gd name="connsiteX36" fmla="*/ 291741 w 1273016"/>
                <a:gd name="connsiteY36" fmla="*/ 30289 h 164201"/>
                <a:gd name="connsiteX37" fmla="*/ 279454 w 1273016"/>
                <a:gd name="connsiteY37" fmla="*/ 17517 h 164201"/>
                <a:gd name="connsiteX38" fmla="*/ 295894 w 1273016"/>
                <a:gd name="connsiteY38" fmla="*/ 886 h 164201"/>
                <a:gd name="connsiteX39" fmla="*/ 385934 w 1273016"/>
                <a:gd name="connsiteY39" fmla="*/ 886 h 164201"/>
                <a:gd name="connsiteX40" fmla="*/ 398516 w 1273016"/>
                <a:gd name="connsiteY40" fmla="*/ 13659 h 164201"/>
                <a:gd name="connsiteX41" fmla="*/ 380600 w 1273016"/>
                <a:gd name="connsiteY41" fmla="*/ 30137 h 164201"/>
                <a:gd name="connsiteX42" fmla="*/ 353797 w 1273016"/>
                <a:gd name="connsiteY42" fmla="*/ 30137 h 164201"/>
                <a:gd name="connsiteX43" fmla="*/ 351425 w 1273016"/>
                <a:gd name="connsiteY43" fmla="*/ 32214 h 164201"/>
                <a:gd name="connsiteX44" fmla="*/ 332613 w 1273016"/>
                <a:gd name="connsiteY44" fmla="*/ 151133 h 164201"/>
                <a:gd name="connsiteX45" fmla="*/ 315582 w 1273016"/>
                <a:gd name="connsiteY45" fmla="*/ 163906 h 164201"/>
                <a:gd name="connsiteX46" fmla="*/ 302114 w 1273016"/>
                <a:gd name="connsiteY46" fmla="*/ 153362 h 164201"/>
                <a:gd name="connsiteX47" fmla="*/ 303295 w 1273016"/>
                <a:gd name="connsiteY47" fmla="*/ 144751 h 164201"/>
                <a:gd name="connsiteX48" fmla="*/ 321212 w 1273016"/>
                <a:gd name="connsiteY48" fmla="*/ 32214 h 164201"/>
                <a:gd name="connsiteX49" fmla="*/ 319288 w 1273016"/>
                <a:gd name="connsiteY49" fmla="*/ 30137 h 164201"/>
                <a:gd name="connsiteX50" fmla="*/ 291598 w 1273016"/>
                <a:gd name="connsiteY50" fmla="*/ 30137 h 164201"/>
                <a:gd name="connsiteX51" fmla="*/ 291741 w 1273016"/>
                <a:gd name="connsiteY51" fmla="*/ 30289 h 164201"/>
                <a:gd name="connsiteX52" fmla="*/ 421472 w 1273016"/>
                <a:gd name="connsiteY52" fmla="*/ 14697 h 164201"/>
                <a:gd name="connsiteX53" fmla="*/ 437026 w 1273016"/>
                <a:gd name="connsiteY53" fmla="*/ 886 h 164201"/>
                <a:gd name="connsiteX54" fmla="*/ 488861 w 1273016"/>
                <a:gd name="connsiteY54" fmla="*/ 886 h 164201"/>
                <a:gd name="connsiteX55" fmla="*/ 533286 w 1273016"/>
                <a:gd name="connsiteY55" fmla="*/ 39786 h 164201"/>
                <a:gd name="connsiteX56" fmla="*/ 515807 w 1273016"/>
                <a:gd name="connsiteY56" fmla="*/ 77353 h 164201"/>
                <a:gd name="connsiteX57" fmla="*/ 513436 w 1273016"/>
                <a:gd name="connsiteY57" fmla="*/ 80172 h 164201"/>
                <a:gd name="connsiteX58" fmla="*/ 515064 w 1273016"/>
                <a:gd name="connsiteY58" fmla="*/ 82696 h 164201"/>
                <a:gd name="connsiteX59" fmla="*/ 526180 w 1273016"/>
                <a:gd name="connsiteY59" fmla="*/ 110014 h 164201"/>
                <a:gd name="connsiteX60" fmla="*/ 467982 w 1273016"/>
                <a:gd name="connsiteY60" fmla="*/ 163163 h 164201"/>
                <a:gd name="connsiteX61" fmla="*/ 411699 w 1273016"/>
                <a:gd name="connsiteY61" fmla="*/ 163163 h 164201"/>
                <a:gd name="connsiteX62" fmla="*/ 400002 w 1273016"/>
                <a:gd name="connsiteY62" fmla="*/ 149352 h 164201"/>
                <a:gd name="connsiteX63" fmla="*/ 421176 w 1273016"/>
                <a:gd name="connsiteY63" fmla="*/ 14545 h 164201"/>
                <a:gd name="connsiteX64" fmla="*/ 421472 w 1273016"/>
                <a:gd name="connsiteY64" fmla="*/ 14697 h 164201"/>
                <a:gd name="connsiteX65" fmla="*/ 441017 w 1273016"/>
                <a:gd name="connsiteY65" fmla="*/ 96355 h 164201"/>
                <a:gd name="connsiteX66" fmla="*/ 438502 w 1273016"/>
                <a:gd name="connsiteY66" fmla="*/ 98431 h 164201"/>
                <a:gd name="connsiteX67" fmla="*/ 433321 w 1273016"/>
                <a:gd name="connsiteY67" fmla="*/ 131836 h 164201"/>
                <a:gd name="connsiteX68" fmla="*/ 434950 w 1273016"/>
                <a:gd name="connsiteY68" fmla="*/ 133912 h 164201"/>
                <a:gd name="connsiteX69" fmla="*/ 473307 w 1273016"/>
                <a:gd name="connsiteY69" fmla="*/ 133912 h 164201"/>
                <a:gd name="connsiteX70" fmla="*/ 494481 w 1273016"/>
                <a:gd name="connsiteY70" fmla="*/ 112681 h 164201"/>
                <a:gd name="connsiteX71" fmla="*/ 478641 w 1273016"/>
                <a:gd name="connsiteY71" fmla="*/ 96355 h 164201"/>
                <a:gd name="connsiteX72" fmla="*/ 441017 w 1273016"/>
                <a:gd name="connsiteY72" fmla="*/ 96355 h 164201"/>
                <a:gd name="connsiteX73" fmla="*/ 480565 w 1273016"/>
                <a:gd name="connsiteY73" fmla="*/ 66951 h 164201"/>
                <a:gd name="connsiteX74" fmla="*/ 501301 w 1273016"/>
                <a:gd name="connsiteY74" fmla="*/ 44987 h 164201"/>
                <a:gd name="connsiteX75" fmla="*/ 485746 w 1273016"/>
                <a:gd name="connsiteY75" fmla="*/ 30289 h 164201"/>
                <a:gd name="connsiteX76" fmla="*/ 451533 w 1273016"/>
                <a:gd name="connsiteY76" fmla="*/ 30289 h 164201"/>
                <a:gd name="connsiteX77" fmla="*/ 449018 w 1273016"/>
                <a:gd name="connsiteY77" fmla="*/ 32366 h 164201"/>
                <a:gd name="connsiteX78" fmla="*/ 443836 w 1273016"/>
                <a:gd name="connsiteY78" fmla="*/ 64732 h 164201"/>
                <a:gd name="connsiteX79" fmla="*/ 445760 w 1273016"/>
                <a:gd name="connsiteY79" fmla="*/ 66808 h 164201"/>
                <a:gd name="connsiteX80" fmla="*/ 480565 w 1273016"/>
                <a:gd name="connsiteY80" fmla="*/ 66808 h 164201"/>
                <a:gd name="connsiteX81" fmla="*/ 480565 w 1273016"/>
                <a:gd name="connsiteY81" fmla="*/ 66951 h 164201"/>
                <a:gd name="connsiteX82" fmla="*/ 660797 w 1273016"/>
                <a:gd name="connsiteY82" fmla="*/ 886 h 164201"/>
                <a:gd name="connsiteX83" fmla="*/ 673379 w 1273016"/>
                <a:gd name="connsiteY83" fmla="*/ 13659 h 164201"/>
                <a:gd name="connsiteX84" fmla="*/ 655463 w 1273016"/>
                <a:gd name="connsiteY84" fmla="*/ 30137 h 164201"/>
                <a:gd name="connsiteX85" fmla="*/ 598742 w 1273016"/>
                <a:gd name="connsiteY85" fmla="*/ 30137 h 164201"/>
                <a:gd name="connsiteX86" fmla="*/ 596227 w 1273016"/>
                <a:gd name="connsiteY86" fmla="*/ 32214 h 164201"/>
                <a:gd name="connsiteX87" fmla="*/ 591636 w 1273016"/>
                <a:gd name="connsiteY87" fmla="*/ 62503 h 164201"/>
                <a:gd name="connsiteX88" fmla="*/ 593265 w 1273016"/>
                <a:gd name="connsiteY88" fmla="*/ 64579 h 164201"/>
                <a:gd name="connsiteX89" fmla="*/ 641842 w 1273016"/>
                <a:gd name="connsiteY89" fmla="*/ 64579 h 164201"/>
                <a:gd name="connsiteX90" fmla="*/ 654425 w 1273016"/>
                <a:gd name="connsiteY90" fmla="*/ 77353 h 164201"/>
                <a:gd name="connsiteX91" fmla="*/ 636508 w 1273016"/>
                <a:gd name="connsiteY91" fmla="*/ 93974 h 164201"/>
                <a:gd name="connsiteX92" fmla="*/ 588674 w 1273016"/>
                <a:gd name="connsiteY92" fmla="*/ 93974 h 164201"/>
                <a:gd name="connsiteX93" fmla="*/ 586302 w 1273016"/>
                <a:gd name="connsiteY93" fmla="*/ 96060 h 164201"/>
                <a:gd name="connsiteX94" fmla="*/ 580682 w 1273016"/>
                <a:gd name="connsiteY94" fmla="*/ 131540 h 164201"/>
                <a:gd name="connsiteX95" fmla="*/ 582301 w 1273016"/>
                <a:gd name="connsiteY95" fmla="*/ 133617 h 164201"/>
                <a:gd name="connsiteX96" fmla="*/ 642137 w 1273016"/>
                <a:gd name="connsiteY96" fmla="*/ 133617 h 164201"/>
                <a:gd name="connsiteX97" fmla="*/ 654720 w 1273016"/>
                <a:gd name="connsiteY97" fmla="*/ 146390 h 164201"/>
                <a:gd name="connsiteX98" fmla="*/ 636803 w 1273016"/>
                <a:gd name="connsiteY98" fmla="*/ 163011 h 164201"/>
                <a:gd name="connsiteX99" fmla="*/ 559203 w 1273016"/>
                <a:gd name="connsiteY99" fmla="*/ 163011 h 164201"/>
                <a:gd name="connsiteX100" fmla="*/ 547802 w 1273016"/>
                <a:gd name="connsiteY100" fmla="*/ 149209 h 164201"/>
                <a:gd name="connsiteX101" fmla="*/ 568976 w 1273016"/>
                <a:gd name="connsiteY101" fmla="*/ 14402 h 164201"/>
                <a:gd name="connsiteX102" fmla="*/ 584530 w 1273016"/>
                <a:gd name="connsiteY102" fmla="*/ 591 h 164201"/>
                <a:gd name="connsiteX103" fmla="*/ 661092 w 1273016"/>
                <a:gd name="connsiteY103" fmla="*/ 591 h 164201"/>
                <a:gd name="connsiteX104" fmla="*/ 660797 w 1273016"/>
                <a:gd name="connsiteY104" fmla="*/ 886 h 164201"/>
                <a:gd name="connsiteX105" fmla="*/ 691601 w 1273016"/>
                <a:gd name="connsiteY105" fmla="*/ 163163 h 164201"/>
                <a:gd name="connsiteX106" fmla="*/ 680495 w 1273016"/>
                <a:gd name="connsiteY106" fmla="*/ 149352 h 164201"/>
                <a:gd name="connsiteX107" fmla="*/ 702116 w 1273016"/>
                <a:gd name="connsiteY107" fmla="*/ 12763 h 164201"/>
                <a:gd name="connsiteX108" fmla="*/ 719147 w 1273016"/>
                <a:gd name="connsiteY108" fmla="*/ 0 h 164201"/>
                <a:gd name="connsiteX109" fmla="*/ 732625 w 1273016"/>
                <a:gd name="connsiteY109" fmla="*/ 10535 h 164201"/>
                <a:gd name="connsiteX110" fmla="*/ 731434 w 1273016"/>
                <a:gd name="connsiteY110" fmla="*/ 19145 h 164201"/>
                <a:gd name="connsiteX111" fmla="*/ 713518 w 1273016"/>
                <a:gd name="connsiteY111" fmla="*/ 131683 h 164201"/>
                <a:gd name="connsiteX112" fmla="*/ 715299 w 1273016"/>
                <a:gd name="connsiteY112" fmla="*/ 133769 h 164201"/>
                <a:gd name="connsiteX113" fmla="*/ 763867 w 1273016"/>
                <a:gd name="connsiteY113" fmla="*/ 133769 h 164201"/>
                <a:gd name="connsiteX114" fmla="*/ 776459 w 1273016"/>
                <a:gd name="connsiteY114" fmla="*/ 146533 h 164201"/>
                <a:gd name="connsiteX115" fmla="*/ 758543 w 1273016"/>
                <a:gd name="connsiteY115" fmla="*/ 163163 h 164201"/>
                <a:gd name="connsiteX116" fmla="*/ 691601 w 1273016"/>
                <a:gd name="connsiteY116" fmla="*/ 163163 h 164201"/>
                <a:gd name="connsiteX117" fmla="*/ 798824 w 1273016"/>
                <a:gd name="connsiteY117" fmla="*/ 82096 h 164201"/>
                <a:gd name="connsiteX118" fmla="*/ 872576 w 1273016"/>
                <a:gd name="connsiteY118" fmla="*/ 0 h 164201"/>
                <a:gd name="connsiteX119" fmla="*/ 910628 w 1273016"/>
                <a:gd name="connsiteY119" fmla="*/ 11878 h 164201"/>
                <a:gd name="connsiteX120" fmla="*/ 916410 w 1273016"/>
                <a:gd name="connsiteY120" fmla="*/ 22412 h 164201"/>
                <a:gd name="connsiteX121" fmla="*/ 898931 w 1273016"/>
                <a:gd name="connsiteY121" fmla="*/ 40081 h 164201"/>
                <a:gd name="connsiteX122" fmla="*/ 891673 w 1273016"/>
                <a:gd name="connsiteY122" fmla="*/ 37709 h 164201"/>
                <a:gd name="connsiteX123" fmla="*/ 867680 w 1273016"/>
                <a:gd name="connsiteY123" fmla="*/ 28804 h 164201"/>
                <a:gd name="connsiteX124" fmla="*/ 830066 w 1273016"/>
                <a:gd name="connsiteY124" fmla="*/ 81953 h 164201"/>
                <a:gd name="connsiteX125" fmla="*/ 826513 w 1273016"/>
                <a:gd name="connsiteY125" fmla="*/ 111500 h 164201"/>
                <a:gd name="connsiteX126" fmla="*/ 850954 w 1273016"/>
                <a:gd name="connsiteY126" fmla="*/ 135103 h 164201"/>
                <a:gd name="connsiteX127" fmla="*/ 883682 w 1273016"/>
                <a:gd name="connsiteY127" fmla="*/ 107194 h 164201"/>
                <a:gd name="connsiteX128" fmla="*/ 885015 w 1273016"/>
                <a:gd name="connsiteY128" fmla="*/ 98279 h 164201"/>
                <a:gd name="connsiteX129" fmla="*/ 883387 w 1273016"/>
                <a:gd name="connsiteY129" fmla="*/ 96202 h 164201"/>
                <a:gd name="connsiteX130" fmla="*/ 869909 w 1273016"/>
                <a:gd name="connsiteY130" fmla="*/ 96202 h 164201"/>
                <a:gd name="connsiteX131" fmla="*/ 857612 w 1273016"/>
                <a:gd name="connsiteY131" fmla="*/ 83439 h 164201"/>
                <a:gd name="connsiteX132" fmla="*/ 873900 w 1273016"/>
                <a:gd name="connsiteY132" fmla="*/ 67104 h 164201"/>
                <a:gd name="connsiteX133" fmla="*/ 907666 w 1273016"/>
                <a:gd name="connsiteY133" fmla="*/ 67104 h 164201"/>
                <a:gd name="connsiteX134" fmla="*/ 917886 w 1273016"/>
                <a:gd name="connsiteY134" fmla="*/ 79429 h 164201"/>
                <a:gd name="connsiteX135" fmla="*/ 913448 w 1273016"/>
                <a:gd name="connsiteY135" fmla="*/ 107337 h 164201"/>
                <a:gd name="connsiteX136" fmla="*/ 846211 w 1273016"/>
                <a:gd name="connsiteY136" fmla="*/ 164049 h 164201"/>
                <a:gd name="connsiteX137" fmla="*/ 795261 w 1273016"/>
                <a:gd name="connsiteY137" fmla="*/ 116243 h 164201"/>
                <a:gd name="connsiteX138" fmla="*/ 798528 w 1273016"/>
                <a:gd name="connsiteY138" fmla="*/ 81953 h 164201"/>
                <a:gd name="connsiteX139" fmla="*/ 798824 w 1273016"/>
                <a:gd name="connsiteY139" fmla="*/ 82096 h 164201"/>
                <a:gd name="connsiteX140" fmla="*/ 963206 w 1273016"/>
                <a:gd name="connsiteY140" fmla="*/ 151286 h 164201"/>
                <a:gd name="connsiteX141" fmla="*/ 946175 w 1273016"/>
                <a:gd name="connsiteY141" fmla="*/ 164049 h 164201"/>
                <a:gd name="connsiteX142" fmla="*/ 932698 w 1273016"/>
                <a:gd name="connsiteY142" fmla="*/ 153514 h 164201"/>
                <a:gd name="connsiteX143" fmla="*/ 933879 w 1273016"/>
                <a:gd name="connsiteY143" fmla="*/ 144904 h 164201"/>
                <a:gd name="connsiteX144" fmla="*/ 955062 w 1273016"/>
                <a:gd name="connsiteY144" fmla="*/ 12763 h 164201"/>
                <a:gd name="connsiteX145" fmla="*/ 972093 w 1273016"/>
                <a:gd name="connsiteY145" fmla="*/ 0 h 164201"/>
                <a:gd name="connsiteX146" fmla="*/ 985571 w 1273016"/>
                <a:gd name="connsiteY146" fmla="*/ 10535 h 164201"/>
                <a:gd name="connsiteX147" fmla="*/ 984390 w 1273016"/>
                <a:gd name="connsiteY147" fmla="*/ 19145 h 164201"/>
                <a:gd name="connsiteX148" fmla="*/ 963206 w 1273016"/>
                <a:gd name="connsiteY148" fmla="*/ 151286 h 164201"/>
                <a:gd name="connsiteX149" fmla="*/ 1111596 w 1273016"/>
                <a:gd name="connsiteY149" fmla="*/ 886 h 164201"/>
                <a:gd name="connsiteX150" fmla="*/ 1124188 w 1273016"/>
                <a:gd name="connsiteY150" fmla="*/ 13659 h 164201"/>
                <a:gd name="connsiteX151" fmla="*/ 1106262 w 1273016"/>
                <a:gd name="connsiteY151" fmla="*/ 30137 h 164201"/>
                <a:gd name="connsiteX152" fmla="*/ 1049541 w 1273016"/>
                <a:gd name="connsiteY152" fmla="*/ 30137 h 164201"/>
                <a:gd name="connsiteX153" fmla="*/ 1047026 w 1273016"/>
                <a:gd name="connsiteY153" fmla="*/ 32214 h 164201"/>
                <a:gd name="connsiteX154" fmla="*/ 1042435 w 1273016"/>
                <a:gd name="connsiteY154" fmla="*/ 62503 h 164201"/>
                <a:gd name="connsiteX155" fmla="*/ 1044064 w 1273016"/>
                <a:gd name="connsiteY155" fmla="*/ 64579 h 164201"/>
                <a:gd name="connsiteX156" fmla="*/ 1092641 w 1273016"/>
                <a:gd name="connsiteY156" fmla="*/ 64579 h 164201"/>
                <a:gd name="connsiteX157" fmla="*/ 1105224 w 1273016"/>
                <a:gd name="connsiteY157" fmla="*/ 77353 h 164201"/>
                <a:gd name="connsiteX158" fmla="*/ 1087307 w 1273016"/>
                <a:gd name="connsiteY158" fmla="*/ 93974 h 164201"/>
                <a:gd name="connsiteX159" fmla="*/ 1039473 w 1273016"/>
                <a:gd name="connsiteY159" fmla="*/ 93974 h 164201"/>
                <a:gd name="connsiteX160" fmla="*/ 1037101 w 1273016"/>
                <a:gd name="connsiteY160" fmla="*/ 96060 h 164201"/>
                <a:gd name="connsiteX161" fmla="*/ 1031472 w 1273016"/>
                <a:gd name="connsiteY161" fmla="*/ 131540 h 164201"/>
                <a:gd name="connsiteX162" fmla="*/ 1033101 w 1273016"/>
                <a:gd name="connsiteY162" fmla="*/ 133617 h 164201"/>
                <a:gd name="connsiteX163" fmla="*/ 1092937 w 1273016"/>
                <a:gd name="connsiteY163" fmla="*/ 133617 h 164201"/>
                <a:gd name="connsiteX164" fmla="*/ 1105519 w 1273016"/>
                <a:gd name="connsiteY164" fmla="*/ 146390 h 164201"/>
                <a:gd name="connsiteX165" fmla="*/ 1087603 w 1273016"/>
                <a:gd name="connsiteY165" fmla="*/ 163011 h 164201"/>
                <a:gd name="connsiteX166" fmla="*/ 1010003 w 1273016"/>
                <a:gd name="connsiteY166" fmla="*/ 163011 h 164201"/>
                <a:gd name="connsiteX167" fmla="*/ 998601 w 1273016"/>
                <a:gd name="connsiteY167" fmla="*/ 149209 h 164201"/>
                <a:gd name="connsiteX168" fmla="*/ 1019775 w 1273016"/>
                <a:gd name="connsiteY168" fmla="*/ 14402 h 164201"/>
                <a:gd name="connsiteX169" fmla="*/ 1035329 w 1273016"/>
                <a:gd name="connsiteY169" fmla="*/ 591 h 164201"/>
                <a:gd name="connsiteX170" fmla="*/ 1111891 w 1273016"/>
                <a:gd name="connsiteY170" fmla="*/ 591 h 164201"/>
                <a:gd name="connsiteX171" fmla="*/ 1111596 w 1273016"/>
                <a:gd name="connsiteY171" fmla="*/ 886 h 164201"/>
                <a:gd name="connsiteX172" fmla="*/ 1242508 w 1273016"/>
                <a:gd name="connsiteY172" fmla="*/ 12763 h 164201"/>
                <a:gd name="connsiteX173" fmla="*/ 1259538 w 1273016"/>
                <a:gd name="connsiteY173" fmla="*/ 0 h 164201"/>
                <a:gd name="connsiteX174" fmla="*/ 1273016 w 1273016"/>
                <a:gd name="connsiteY174" fmla="*/ 10535 h 164201"/>
                <a:gd name="connsiteX175" fmla="*/ 1271835 w 1273016"/>
                <a:gd name="connsiteY175" fmla="*/ 19145 h 164201"/>
                <a:gd name="connsiteX176" fmla="*/ 1251547 w 1273016"/>
                <a:gd name="connsiteY176" fmla="*/ 145942 h 164201"/>
                <a:gd name="connsiteX177" fmla="*/ 1233183 w 1273016"/>
                <a:gd name="connsiteY177" fmla="*/ 164049 h 164201"/>
                <a:gd name="connsiteX178" fmla="*/ 1213933 w 1273016"/>
                <a:gd name="connsiteY178" fmla="*/ 146828 h 164201"/>
                <a:gd name="connsiteX179" fmla="*/ 1178833 w 1273016"/>
                <a:gd name="connsiteY179" fmla="*/ 65027 h 164201"/>
                <a:gd name="connsiteX180" fmla="*/ 1176461 w 1273016"/>
                <a:gd name="connsiteY180" fmla="*/ 62503 h 164201"/>
                <a:gd name="connsiteX181" fmla="*/ 1175128 w 1273016"/>
                <a:gd name="connsiteY181" fmla="*/ 65027 h 164201"/>
                <a:gd name="connsiteX182" fmla="*/ 1161355 w 1273016"/>
                <a:gd name="connsiteY182" fmla="*/ 151286 h 164201"/>
                <a:gd name="connsiteX183" fmla="*/ 1144324 w 1273016"/>
                <a:gd name="connsiteY183" fmla="*/ 164049 h 164201"/>
                <a:gd name="connsiteX184" fmla="*/ 1130846 w 1273016"/>
                <a:gd name="connsiteY184" fmla="*/ 153514 h 164201"/>
                <a:gd name="connsiteX185" fmla="*/ 1132037 w 1273016"/>
                <a:gd name="connsiteY185" fmla="*/ 144904 h 164201"/>
                <a:gd name="connsiteX186" fmla="*/ 1152325 w 1273016"/>
                <a:gd name="connsiteY186" fmla="*/ 18107 h 164201"/>
                <a:gd name="connsiteX187" fmla="*/ 1170689 w 1273016"/>
                <a:gd name="connsiteY187" fmla="*/ 0 h 164201"/>
                <a:gd name="connsiteX188" fmla="*/ 1189939 w 1273016"/>
                <a:gd name="connsiteY188" fmla="*/ 17221 h 164201"/>
                <a:gd name="connsiteX189" fmla="*/ 1225039 w 1273016"/>
                <a:gd name="connsiteY189" fmla="*/ 99022 h 164201"/>
                <a:gd name="connsiteX190" fmla="*/ 1227401 w 1273016"/>
                <a:gd name="connsiteY190" fmla="*/ 101403 h 164201"/>
                <a:gd name="connsiteX191" fmla="*/ 1228735 w 1273016"/>
                <a:gd name="connsiteY191" fmla="*/ 99022 h 164201"/>
                <a:gd name="connsiteX192" fmla="*/ 1242508 w 1273016"/>
                <a:gd name="connsiteY192" fmla="*/ 12763 h 16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273016" h="164201">
                  <a:moveTo>
                    <a:pt x="76714" y="0"/>
                  </a:moveTo>
                  <a:cubicBezTo>
                    <a:pt x="108547" y="0"/>
                    <a:pt x="127654" y="13802"/>
                    <a:pt x="127654" y="48254"/>
                  </a:cubicBezTo>
                  <a:cubicBezTo>
                    <a:pt x="127654" y="57750"/>
                    <a:pt x="126473" y="69180"/>
                    <a:pt x="124701" y="82096"/>
                  </a:cubicBezTo>
                  <a:cubicBezTo>
                    <a:pt x="116986" y="131988"/>
                    <a:pt x="107509" y="164201"/>
                    <a:pt x="50940" y="164201"/>
                  </a:cubicBezTo>
                  <a:cubicBezTo>
                    <a:pt x="19841" y="164201"/>
                    <a:pt x="0" y="151133"/>
                    <a:pt x="0" y="116396"/>
                  </a:cubicBezTo>
                  <a:cubicBezTo>
                    <a:pt x="0" y="106594"/>
                    <a:pt x="1181" y="95164"/>
                    <a:pt x="3258" y="82096"/>
                  </a:cubicBezTo>
                  <a:cubicBezTo>
                    <a:pt x="10659" y="34595"/>
                    <a:pt x="20879" y="0"/>
                    <a:pt x="76714" y="0"/>
                  </a:cubicBezTo>
                  <a:close/>
                  <a:moveTo>
                    <a:pt x="96403" y="52702"/>
                  </a:moveTo>
                  <a:cubicBezTo>
                    <a:pt x="96403" y="37262"/>
                    <a:pt x="87821" y="28946"/>
                    <a:pt x="72266" y="28946"/>
                  </a:cubicBezTo>
                  <a:cubicBezTo>
                    <a:pt x="40577" y="28946"/>
                    <a:pt x="38795" y="60122"/>
                    <a:pt x="34642" y="82096"/>
                  </a:cubicBezTo>
                  <a:cubicBezTo>
                    <a:pt x="32280" y="93974"/>
                    <a:pt x="31099" y="103775"/>
                    <a:pt x="31099" y="111642"/>
                  </a:cubicBezTo>
                  <a:cubicBezTo>
                    <a:pt x="31099" y="128273"/>
                    <a:pt x="38052" y="135255"/>
                    <a:pt x="55531" y="135255"/>
                  </a:cubicBezTo>
                  <a:cubicBezTo>
                    <a:pt x="84563" y="135255"/>
                    <a:pt x="88849" y="112681"/>
                    <a:pt x="93155" y="82096"/>
                  </a:cubicBezTo>
                  <a:cubicBezTo>
                    <a:pt x="94774" y="70371"/>
                    <a:pt x="96403" y="60569"/>
                    <a:pt x="96403" y="52702"/>
                  </a:cubicBezTo>
                  <a:close/>
                  <a:moveTo>
                    <a:pt x="209398" y="28651"/>
                  </a:moveTo>
                  <a:cubicBezTo>
                    <a:pt x="200073" y="28651"/>
                    <a:pt x="184966" y="32366"/>
                    <a:pt x="184966" y="45729"/>
                  </a:cubicBezTo>
                  <a:cubicBezTo>
                    <a:pt x="184966" y="52559"/>
                    <a:pt x="191776" y="56864"/>
                    <a:pt x="201997" y="61760"/>
                  </a:cubicBezTo>
                  <a:lnTo>
                    <a:pt x="221694" y="71266"/>
                  </a:lnTo>
                  <a:cubicBezTo>
                    <a:pt x="242869" y="81505"/>
                    <a:pt x="254422" y="95460"/>
                    <a:pt x="254422" y="114910"/>
                  </a:cubicBezTo>
                  <a:cubicBezTo>
                    <a:pt x="254422" y="147123"/>
                    <a:pt x="225990" y="164049"/>
                    <a:pt x="194443" y="164049"/>
                  </a:cubicBezTo>
                  <a:cubicBezTo>
                    <a:pt x="171936" y="164049"/>
                    <a:pt x="151943" y="156629"/>
                    <a:pt x="138170" y="141037"/>
                  </a:cubicBezTo>
                  <a:cubicBezTo>
                    <a:pt x="136208" y="138951"/>
                    <a:pt x="135144" y="136179"/>
                    <a:pt x="135207" y="133321"/>
                  </a:cubicBezTo>
                  <a:cubicBezTo>
                    <a:pt x="135207" y="125158"/>
                    <a:pt x="143647" y="116986"/>
                    <a:pt x="152829" y="116986"/>
                  </a:cubicBezTo>
                  <a:cubicBezTo>
                    <a:pt x="156829" y="116986"/>
                    <a:pt x="160087" y="119510"/>
                    <a:pt x="162906" y="122187"/>
                  </a:cubicBezTo>
                  <a:cubicBezTo>
                    <a:pt x="170307" y="129159"/>
                    <a:pt x="179632" y="135398"/>
                    <a:pt x="196815" y="135398"/>
                  </a:cubicBezTo>
                  <a:cubicBezTo>
                    <a:pt x="207331" y="135398"/>
                    <a:pt x="222437" y="131388"/>
                    <a:pt x="222437" y="117434"/>
                  </a:cubicBezTo>
                  <a:cubicBezTo>
                    <a:pt x="222437" y="109718"/>
                    <a:pt x="217103" y="103927"/>
                    <a:pt x="206588" y="99022"/>
                  </a:cubicBezTo>
                  <a:lnTo>
                    <a:pt x="186300" y="89525"/>
                  </a:lnTo>
                  <a:cubicBezTo>
                    <a:pt x="165125" y="79572"/>
                    <a:pt x="152829" y="68142"/>
                    <a:pt x="152829" y="46911"/>
                  </a:cubicBezTo>
                  <a:cubicBezTo>
                    <a:pt x="152829" y="17517"/>
                    <a:pt x="179784" y="0"/>
                    <a:pt x="211179" y="0"/>
                  </a:cubicBezTo>
                  <a:cubicBezTo>
                    <a:pt x="228210" y="0"/>
                    <a:pt x="245088" y="3562"/>
                    <a:pt x="259013" y="15888"/>
                  </a:cubicBezTo>
                  <a:cubicBezTo>
                    <a:pt x="261833" y="18259"/>
                    <a:pt x="264195" y="21526"/>
                    <a:pt x="264195" y="25975"/>
                  </a:cubicBezTo>
                  <a:cubicBezTo>
                    <a:pt x="264195" y="34147"/>
                    <a:pt x="256051" y="42310"/>
                    <a:pt x="247907" y="42310"/>
                  </a:cubicBezTo>
                  <a:cubicBezTo>
                    <a:pt x="243907" y="42310"/>
                    <a:pt x="240211" y="40234"/>
                    <a:pt x="238135" y="38595"/>
                  </a:cubicBezTo>
                  <a:cubicBezTo>
                    <a:pt x="229848" y="32071"/>
                    <a:pt x="220513" y="28804"/>
                    <a:pt x="209255" y="28804"/>
                  </a:cubicBezTo>
                  <a:lnTo>
                    <a:pt x="209398" y="28651"/>
                  </a:lnTo>
                  <a:close/>
                  <a:moveTo>
                    <a:pt x="291741" y="30289"/>
                  </a:moveTo>
                  <a:cubicBezTo>
                    <a:pt x="282712" y="30289"/>
                    <a:pt x="279454" y="24193"/>
                    <a:pt x="279454" y="17517"/>
                  </a:cubicBezTo>
                  <a:cubicBezTo>
                    <a:pt x="279454" y="8611"/>
                    <a:pt x="285074" y="886"/>
                    <a:pt x="295894" y="886"/>
                  </a:cubicBezTo>
                  <a:lnTo>
                    <a:pt x="385934" y="886"/>
                  </a:lnTo>
                  <a:cubicBezTo>
                    <a:pt x="395269" y="886"/>
                    <a:pt x="398516" y="6972"/>
                    <a:pt x="398516" y="13659"/>
                  </a:cubicBezTo>
                  <a:cubicBezTo>
                    <a:pt x="398516" y="22565"/>
                    <a:pt x="392897" y="30137"/>
                    <a:pt x="380600" y="30137"/>
                  </a:cubicBezTo>
                  <a:lnTo>
                    <a:pt x="353797" y="30137"/>
                  </a:lnTo>
                  <a:cubicBezTo>
                    <a:pt x="352463" y="30137"/>
                    <a:pt x="351720" y="30585"/>
                    <a:pt x="351425" y="32214"/>
                  </a:cubicBezTo>
                  <a:lnTo>
                    <a:pt x="332613" y="151133"/>
                  </a:lnTo>
                  <a:cubicBezTo>
                    <a:pt x="330994" y="161382"/>
                    <a:pt x="324469" y="163906"/>
                    <a:pt x="315582" y="163906"/>
                  </a:cubicBezTo>
                  <a:cubicBezTo>
                    <a:pt x="309067" y="163906"/>
                    <a:pt x="302114" y="161525"/>
                    <a:pt x="302114" y="153362"/>
                  </a:cubicBezTo>
                  <a:cubicBezTo>
                    <a:pt x="302114" y="152029"/>
                    <a:pt x="302552" y="148466"/>
                    <a:pt x="303295" y="144751"/>
                  </a:cubicBezTo>
                  <a:lnTo>
                    <a:pt x="321212" y="32214"/>
                  </a:lnTo>
                  <a:cubicBezTo>
                    <a:pt x="321507" y="30585"/>
                    <a:pt x="320926" y="30137"/>
                    <a:pt x="319288" y="30137"/>
                  </a:cubicBezTo>
                  <a:lnTo>
                    <a:pt x="291598" y="30137"/>
                  </a:lnTo>
                  <a:lnTo>
                    <a:pt x="291741" y="30289"/>
                  </a:lnTo>
                  <a:close/>
                  <a:moveTo>
                    <a:pt x="421472" y="14697"/>
                  </a:moveTo>
                  <a:cubicBezTo>
                    <a:pt x="422805" y="5791"/>
                    <a:pt x="427692" y="886"/>
                    <a:pt x="437026" y="886"/>
                  </a:cubicBezTo>
                  <a:lnTo>
                    <a:pt x="488861" y="886"/>
                  </a:lnTo>
                  <a:cubicBezTo>
                    <a:pt x="514483" y="886"/>
                    <a:pt x="533286" y="12763"/>
                    <a:pt x="533286" y="39786"/>
                  </a:cubicBezTo>
                  <a:cubicBezTo>
                    <a:pt x="533286" y="54635"/>
                    <a:pt x="528104" y="67999"/>
                    <a:pt x="515807" y="77353"/>
                  </a:cubicBezTo>
                  <a:cubicBezTo>
                    <a:pt x="514474" y="78534"/>
                    <a:pt x="513436" y="78981"/>
                    <a:pt x="513436" y="80172"/>
                  </a:cubicBezTo>
                  <a:cubicBezTo>
                    <a:pt x="513436" y="81058"/>
                    <a:pt x="513883" y="81505"/>
                    <a:pt x="515064" y="82696"/>
                  </a:cubicBezTo>
                  <a:cubicBezTo>
                    <a:pt x="520398" y="88925"/>
                    <a:pt x="526180" y="95460"/>
                    <a:pt x="526180" y="110014"/>
                  </a:cubicBezTo>
                  <a:cubicBezTo>
                    <a:pt x="526180" y="137922"/>
                    <a:pt x="504844" y="163163"/>
                    <a:pt x="467982" y="163163"/>
                  </a:cubicBezTo>
                  <a:lnTo>
                    <a:pt x="411699" y="163163"/>
                  </a:lnTo>
                  <a:cubicBezTo>
                    <a:pt x="402812" y="163163"/>
                    <a:pt x="398669" y="158267"/>
                    <a:pt x="400002" y="149352"/>
                  </a:cubicBezTo>
                  <a:lnTo>
                    <a:pt x="421176" y="14545"/>
                  </a:lnTo>
                  <a:lnTo>
                    <a:pt x="421472" y="14697"/>
                  </a:lnTo>
                  <a:close/>
                  <a:moveTo>
                    <a:pt x="441017" y="96355"/>
                  </a:moveTo>
                  <a:cubicBezTo>
                    <a:pt x="439398" y="96355"/>
                    <a:pt x="438950" y="96793"/>
                    <a:pt x="438502" y="98431"/>
                  </a:cubicBezTo>
                  <a:lnTo>
                    <a:pt x="433321" y="131836"/>
                  </a:lnTo>
                  <a:cubicBezTo>
                    <a:pt x="433026" y="133464"/>
                    <a:pt x="433321" y="133912"/>
                    <a:pt x="434950" y="133912"/>
                  </a:cubicBezTo>
                  <a:lnTo>
                    <a:pt x="473307" y="133912"/>
                  </a:lnTo>
                  <a:cubicBezTo>
                    <a:pt x="486337" y="133912"/>
                    <a:pt x="494481" y="124854"/>
                    <a:pt x="494481" y="112681"/>
                  </a:cubicBezTo>
                  <a:cubicBezTo>
                    <a:pt x="494481" y="102889"/>
                    <a:pt x="487671" y="96355"/>
                    <a:pt x="478641" y="96355"/>
                  </a:cubicBezTo>
                  <a:lnTo>
                    <a:pt x="441017" y="96355"/>
                  </a:lnTo>
                  <a:close/>
                  <a:moveTo>
                    <a:pt x="480565" y="66951"/>
                  </a:moveTo>
                  <a:cubicBezTo>
                    <a:pt x="492852" y="66951"/>
                    <a:pt x="501301" y="57902"/>
                    <a:pt x="501301" y="44987"/>
                  </a:cubicBezTo>
                  <a:cubicBezTo>
                    <a:pt x="501301" y="35481"/>
                    <a:pt x="494338" y="30289"/>
                    <a:pt x="485746" y="30289"/>
                  </a:cubicBezTo>
                  <a:lnTo>
                    <a:pt x="451533" y="30289"/>
                  </a:lnTo>
                  <a:cubicBezTo>
                    <a:pt x="449913" y="30289"/>
                    <a:pt x="449170" y="30728"/>
                    <a:pt x="449018" y="32366"/>
                  </a:cubicBezTo>
                  <a:lnTo>
                    <a:pt x="443836" y="64732"/>
                  </a:lnTo>
                  <a:cubicBezTo>
                    <a:pt x="443541" y="66361"/>
                    <a:pt x="444132" y="66808"/>
                    <a:pt x="445760" y="66808"/>
                  </a:cubicBezTo>
                  <a:lnTo>
                    <a:pt x="480565" y="66808"/>
                  </a:lnTo>
                  <a:lnTo>
                    <a:pt x="480565" y="66951"/>
                  </a:lnTo>
                  <a:close/>
                  <a:moveTo>
                    <a:pt x="660797" y="886"/>
                  </a:moveTo>
                  <a:cubicBezTo>
                    <a:pt x="670122" y="886"/>
                    <a:pt x="673379" y="6972"/>
                    <a:pt x="673379" y="13659"/>
                  </a:cubicBezTo>
                  <a:cubicBezTo>
                    <a:pt x="673379" y="22565"/>
                    <a:pt x="667760" y="30137"/>
                    <a:pt x="655463" y="30137"/>
                  </a:cubicBezTo>
                  <a:lnTo>
                    <a:pt x="598742" y="30137"/>
                  </a:lnTo>
                  <a:cubicBezTo>
                    <a:pt x="597113" y="30137"/>
                    <a:pt x="596370" y="30585"/>
                    <a:pt x="596227" y="32214"/>
                  </a:cubicBezTo>
                  <a:lnTo>
                    <a:pt x="591636" y="62503"/>
                  </a:lnTo>
                  <a:cubicBezTo>
                    <a:pt x="591341" y="64132"/>
                    <a:pt x="591636" y="64579"/>
                    <a:pt x="593265" y="64579"/>
                  </a:cubicBezTo>
                  <a:lnTo>
                    <a:pt x="641842" y="64579"/>
                  </a:lnTo>
                  <a:cubicBezTo>
                    <a:pt x="651167" y="64579"/>
                    <a:pt x="654425" y="70666"/>
                    <a:pt x="654425" y="77353"/>
                  </a:cubicBezTo>
                  <a:cubicBezTo>
                    <a:pt x="654425" y="86258"/>
                    <a:pt x="648795" y="93974"/>
                    <a:pt x="636508" y="93974"/>
                  </a:cubicBezTo>
                  <a:lnTo>
                    <a:pt x="588674" y="93974"/>
                  </a:lnTo>
                  <a:cubicBezTo>
                    <a:pt x="587045" y="93974"/>
                    <a:pt x="586597" y="94421"/>
                    <a:pt x="586302" y="96060"/>
                  </a:cubicBezTo>
                  <a:lnTo>
                    <a:pt x="580682" y="131540"/>
                  </a:lnTo>
                  <a:cubicBezTo>
                    <a:pt x="580377" y="133169"/>
                    <a:pt x="580682" y="133617"/>
                    <a:pt x="582301" y="133617"/>
                  </a:cubicBezTo>
                  <a:lnTo>
                    <a:pt x="642137" y="133617"/>
                  </a:lnTo>
                  <a:cubicBezTo>
                    <a:pt x="651462" y="133617"/>
                    <a:pt x="654720" y="139703"/>
                    <a:pt x="654720" y="146390"/>
                  </a:cubicBezTo>
                  <a:cubicBezTo>
                    <a:pt x="654720" y="155296"/>
                    <a:pt x="649091" y="163011"/>
                    <a:pt x="636803" y="163011"/>
                  </a:cubicBezTo>
                  <a:lnTo>
                    <a:pt x="559203" y="163011"/>
                  </a:lnTo>
                  <a:cubicBezTo>
                    <a:pt x="550316" y="163011"/>
                    <a:pt x="546468" y="158115"/>
                    <a:pt x="547802" y="149209"/>
                  </a:cubicBezTo>
                  <a:lnTo>
                    <a:pt x="568976" y="14402"/>
                  </a:lnTo>
                  <a:cubicBezTo>
                    <a:pt x="570309" y="5486"/>
                    <a:pt x="575196" y="591"/>
                    <a:pt x="584530" y="591"/>
                  </a:cubicBezTo>
                  <a:lnTo>
                    <a:pt x="661092" y="591"/>
                  </a:lnTo>
                  <a:lnTo>
                    <a:pt x="660797" y="886"/>
                  </a:lnTo>
                  <a:close/>
                  <a:moveTo>
                    <a:pt x="691601" y="163163"/>
                  </a:moveTo>
                  <a:cubicBezTo>
                    <a:pt x="683457" y="163163"/>
                    <a:pt x="679009" y="158267"/>
                    <a:pt x="680495" y="149352"/>
                  </a:cubicBezTo>
                  <a:lnTo>
                    <a:pt x="702116" y="12763"/>
                  </a:lnTo>
                  <a:cubicBezTo>
                    <a:pt x="703745" y="2524"/>
                    <a:pt x="710260" y="0"/>
                    <a:pt x="719147" y="0"/>
                  </a:cubicBezTo>
                  <a:cubicBezTo>
                    <a:pt x="725662" y="0"/>
                    <a:pt x="732625" y="2372"/>
                    <a:pt x="732625" y="10535"/>
                  </a:cubicBezTo>
                  <a:cubicBezTo>
                    <a:pt x="732625" y="11878"/>
                    <a:pt x="732177" y="15440"/>
                    <a:pt x="731434" y="19145"/>
                  </a:cubicBezTo>
                  <a:lnTo>
                    <a:pt x="713518" y="131683"/>
                  </a:lnTo>
                  <a:cubicBezTo>
                    <a:pt x="713223" y="133321"/>
                    <a:pt x="713813" y="133769"/>
                    <a:pt x="715299" y="133769"/>
                  </a:cubicBezTo>
                  <a:lnTo>
                    <a:pt x="763867" y="133769"/>
                  </a:lnTo>
                  <a:cubicBezTo>
                    <a:pt x="773201" y="133769"/>
                    <a:pt x="776459" y="139856"/>
                    <a:pt x="776459" y="146533"/>
                  </a:cubicBezTo>
                  <a:cubicBezTo>
                    <a:pt x="776459" y="155438"/>
                    <a:pt x="770830" y="163163"/>
                    <a:pt x="758543" y="163163"/>
                  </a:cubicBezTo>
                  <a:lnTo>
                    <a:pt x="691601" y="163163"/>
                  </a:lnTo>
                  <a:close/>
                  <a:moveTo>
                    <a:pt x="798824" y="82096"/>
                  </a:moveTo>
                  <a:cubicBezTo>
                    <a:pt x="806225" y="34595"/>
                    <a:pt x="816445" y="0"/>
                    <a:pt x="872576" y="0"/>
                  </a:cubicBezTo>
                  <a:cubicBezTo>
                    <a:pt x="885311" y="0"/>
                    <a:pt x="901151" y="3267"/>
                    <a:pt x="910628" y="11878"/>
                  </a:cubicBezTo>
                  <a:cubicBezTo>
                    <a:pt x="913886" y="14840"/>
                    <a:pt x="916410" y="17669"/>
                    <a:pt x="916410" y="22412"/>
                  </a:cubicBezTo>
                  <a:cubicBezTo>
                    <a:pt x="916410" y="30585"/>
                    <a:pt x="908114" y="40081"/>
                    <a:pt x="898931" y="40081"/>
                  </a:cubicBezTo>
                  <a:cubicBezTo>
                    <a:pt x="895674" y="40081"/>
                    <a:pt x="893597" y="39195"/>
                    <a:pt x="891673" y="37709"/>
                  </a:cubicBezTo>
                  <a:cubicBezTo>
                    <a:pt x="882787" y="30432"/>
                    <a:pt x="877310" y="28804"/>
                    <a:pt x="867680" y="28804"/>
                  </a:cubicBezTo>
                  <a:cubicBezTo>
                    <a:pt x="836143" y="28804"/>
                    <a:pt x="834219" y="59979"/>
                    <a:pt x="830066" y="81953"/>
                  </a:cubicBezTo>
                  <a:cubicBezTo>
                    <a:pt x="827694" y="93831"/>
                    <a:pt x="826513" y="103622"/>
                    <a:pt x="826513" y="111500"/>
                  </a:cubicBezTo>
                  <a:cubicBezTo>
                    <a:pt x="826513" y="128121"/>
                    <a:pt x="833476" y="135103"/>
                    <a:pt x="850954" y="135103"/>
                  </a:cubicBezTo>
                  <a:cubicBezTo>
                    <a:pt x="868423" y="135103"/>
                    <a:pt x="881015" y="124416"/>
                    <a:pt x="883682" y="107194"/>
                  </a:cubicBezTo>
                  <a:lnTo>
                    <a:pt x="885015" y="98279"/>
                  </a:lnTo>
                  <a:cubicBezTo>
                    <a:pt x="885311" y="96650"/>
                    <a:pt x="884711" y="96202"/>
                    <a:pt x="883387" y="96202"/>
                  </a:cubicBezTo>
                  <a:lnTo>
                    <a:pt x="869909" y="96202"/>
                  </a:lnTo>
                  <a:cubicBezTo>
                    <a:pt x="860870" y="96202"/>
                    <a:pt x="857612" y="90116"/>
                    <a:pt x="857612" y="83439"/>
                  </a:cubicBezTo>
                  <a:cubicBezTo>
                    <a:pt x="857612" y="74828"/>
                    <a:pt x="863241" y="67104"/>
                    <a:pt x="873900" y="67104"/>
                  </a:cubicBezTo>
                  <a:lnTo>
                    <a:pt x="907666" y="67104"/>
                  </a:lnTo>
                  <a:cubicBezTo>
                    <a:pt x="914486" y="67104"/>
                    <a:pt x="919372" y="70666"/>
                    <a:pt x="917886" y="79429"/>
                  </a:cubicBezTo>
                  <a:lnTo>
                    <a:pt x="913448" y="107337"/>
                  </a:lnTo>
                  <a:cubicBezTo>
                    <a:pt x="907666" y="144161"/>
                    <a:pt x="886492" y="164049"/>
                    <a:pt x="846211" y="164049"/>
                  </a:cubicBezTo>
                  <a:cubicBezTo>
                    <a:pt x="815111" y="164049"/>
                    <a:pt x="795261" y="150990"/>
                    <a:pt x="795261" y="116243"/>
                  </a:cubicBezTo>
                  <a:cubicBezTo>
                    <a:pt x="795261" y="106451"/>
                    <a:pt x="796452" y="95012"/>
                    <a:pt x="798528" y="81953"/>
                  </a:cubicBezTo>
                  <a:lnTo>
                    <a:pt x="798824" y="82096"/>
                  </a:lnTo>
                  <a:close/>
                  <a:moveTo>
                    <a:pt x="963206" y="151286"/>
                  </a:moveTo>
                  <a:cubicBezTo>
                    <a:pt x="961577" y="161525"/>
                    <a:pt x="955062" y="164049"/>
                    <a:pt x="946175" y="164049"/>
                  </a:cubicBezTo>
                  <a:cubicBezTo>
                    <a:pt x="939660" y="164049"/>
                    <a:pt x="932698" y="161677"/>
                    <a:pt x="932698" y="153514"/>
                  </a:cubicBezTo>
                  <a:cubicBezTo>
                    <a:pt x="932698" y="152171"/>
                    <a:pt x="933145" y="148609"/>
                    <a:pt x="933879" y="144904"/>
                  </a:cubicBezTo>
                  <a:lnTo>
                    <a:pt x="955062" y="12763"/>
                  </a:lnTo>
                  <a:cubicBezTo>
                    <a:pt x="956691" y="2524"/>
                    <a:pt x="963206" y="0"/>
                    <a:pt x="972093" y="0"/>
                  </a:cubicBezTo>
                  <a:cubicBezTo>
                    <a:pt x="978608" y="0"/>
                    <a:pt x="985571" y="2372"/>
                    <a:pt x="985571" y="10535"/>
                  </a:cubicBezTo>
                  <a:cubicBezTo>
                    <a:pt x="985571" y="11878"/>
                    <a:pt x="985133" y="15440"/>
                    <a:pt x="984390" y="19145"/>
                  </a:cubicBezTo>
                  <a:lnTo>
                    <a:pt x="963206" y="151286"/>
                  </a:lnTo>
                  <a:close/>
                  <a:moveTo>
                    <a:pt x="1111596" y="886"/>
                  </a:moveTo>
                  <a:cubicBezTo>
                    <a:pt x="1120921" y="886"/>
                    <a:pt x="1124188" y="6972"/>
                    <a:pt x="1124188" y="13659"/>
                  </a:cubicBezTo>
                  <a:cubicBezTo>
                    <a:pt x="1124188" y="22565"/>
                    <a:pt x="1118559" y="30137"/>
                    <a:pt x="1106262" y="30137"/>
                  </a:cubicBezTo>
                  <a:lnTo>
                    <a:pt x="1049541" y="30137"/>
                  </a:lnTo>
                  <a:cubicBezTo>
                    <a:pt x="1047912" y="30137"/>
                    <a:pt x="1047179" y="30585"/>
                    <a:pt x="1047026" y="32214"/>
                  </a:cubicBezTo>
                  <a:lnTo>
                    <a:pt x="1042435" y="62503"/>
                  </a:lnTo>
                  <a:cubicBezTo>
                    <a:pt x="1042140" y="64132"/>
                    <a:pt x="1042435" y="64579"/>
                    <a:pt x="1044064" y="64579"/>
                  </a:cubicBezTo>
                  <a:lnTo>
                    <a:pt x="1092641" y="64579"/>
                  </a:lnTo>
                  <a:cubicBezTo>
                    <a:pt x="1101966" y="64579"/>
                    <a:pt x="1105224" y="70666"/>
                    <a:pt x="1105224" y="77353"/>
                  </a:cubicBezTo>
                  <a:cubicBezTo>
                    <a:pt x="1105224" y="86258"/>
                    <a:pt x="1099604" y="93974"/>
                    <a:pt x="1087307" y="93974"/>
                  </a:cubicBezTo>
                  <a:lnTo>
                    <a:pt x="1039473" y="93974"/>
                  </a:lnTo>
                  <a:cubicBezTo>
                    <a:pt x="1037844" y="93974"/>
                    <a:pt x="1037396" y="94421"/>
                    <a:pt x="1037101" y="96060"/>
                  </a:cubicBezTo>
                  <a:lnTo>
                    <a:pt x="1031472" y="131540"/>
                  </a:lnTo>
                  <a:cubicBezTo>
                    <a:pt x="1031177" y="133169"/>
                    <a:pt x="1031472" y="133617"/>
                    <a:pt x="1033101" y="133617"/>
                  </a:cubicBezTo>
                  <a:lnTo>
                    <a:pt x="1092937" y="133617"/>
                  </a:lnTo>
                  <a:cubicBezTo>
                    <a:pt x="1102262" y="133617"/>
                    <a:pt x="1105519" y="139703"/>
                    <a:pt x="1105519" y="146390"/>
                  </a:cubicBezTo>
                  <a:cubicBezTo>
                    <a:pt x="1105519" y="155296"/>
                    <a:pt x="1099899" y="163011"/>
                    <a:pt x="1087603" y="163011"/>
                  </a:cubicBezTo>
                  <a:lnTo>
                    <a:pt x="1010003" y="163011"/>
                  </a:lnTo>
                  <a:cubicBezTo>
                    <a:pt x="1001116" y="163011"/>
                    <a:pt x="997268" y="158115"/>
                    <a:pt x="998601" y="149209"/>
                  </a:cubicBezTo>
                  <a:lnTo>
                    <a:pt x="1019775" y="14402"/>
                  </a:lnTo>
                  <a:cubicBezTo>
                    <a:pt x="1021109" y="5486"/>
                    <a:pt x="1025995" y="591"/>
                    <a:pt x="1035329" y="591"/>
                  </a:cubicBezTo>
                  <a:lnTo>
                    <a:pt x="1111891" y="591"/>
                  </a:lnTo>
                  <a:lnTo>
                    <a:pt x="1111596" y="886"/>
                  </a:lnTo>
                  <a:close/>
                  <a:moveTo>
                    <a:pt x="1242508" y="12763"/>
                  </a:moveTo>
                  <a:cubicBezTo>
                    <a:pt x="1244137" y="2524"/>
                    <a:pt x="1250652" y="0"/>
                    <a:pt x="1259538" y="0"/>
                  </a:cubicBezTo>
                  <a:cubicBezTo>
                    <a:pt x="1266053" y="0"/>
                    <a:pt x="1273016" y="2372"/>
                    <a:pt x="1273016" y="10535"/>
                  </a:cubicBezTo>
                  <a:cubicBezTo>
                    <a:pt x="1273016" y="11878"/>
                    <a:pt x="1272578" y="15440"/>
                    <a:pt x="1271835" y="19145"/>
                  </a:cubicBezTo>
                  <a:lnTo>
                    <a:pt x="1251547" y="145942"/>
                  </a:lnTo>
                  <a:cubicBezTo>
                    <a:pt x="1249470" y="159744"/>
                    <a:pt x="1242213" y="164049"/>
                    <a:pt x="1233183" y="164049"/>
                  </a:cubicBezTo>
                  <a:cubicBezTo>
                    <a:pt x="1223258" y="164049"/>
                    <a:pt x="1219705" y="160049"/>
                    <a:pt x="1213933" y="146828"/>
                  </a:cubicBezTo>
                  <a:lnTo>
                    <a:pt x="1178833" y="65027"/>
                  </a:lnTo>
                  <a:cubicBezTo>
                    <a:pt x="1178385" y="63694"/>
                    <a:pt x="1177642" y="62503"/>
                    <a:pt x="1176461" y="62503"/>
                  </a:cubicBezTo>
                  <a:cubicBezTo>
                    <a:pt x="1175280" y="62503"/>
                    <a:pt x="1175128" y="64437"/>
                    <a:pt x="1175128" y="65027"/>
                  </a:cubicBezTo>
                  <a:lnTo>
                    <a:pt x="1161355" y="151286"/>
                  </a:lnTo>
                  <a:cubicBezTo>
                    <a:pt x="1159726" y="161525"/>
                    <a:pt x="1153211" y="164049"/>
                    <a:pt x="1144324" y="164049"/>
                  </a:cubicBezTo>
                  <a:cubicBezTo>
                    <a:pt x="1137809" y="164049"/>
                    <a:pt x="1130846" y="161677"/>
                    <a:pt x="1130846" y="153514"/>
                  </a:cubicBezTo>
                  <a:cubicBezTo>
                    <a:pt x="1130846" y="152171"/>
                    <a:pt x="1131294" y="148609"/>
                    <a:pt x="1132037" y="144904"/>
                  </a:cubicBezTo>
                  <a:lnTo>
                    <a:pt x="1152325" y="18107"/>
                  </a:lnTo>
                  <a:cubicBezTo>
                    <a:pt x="1154687" y="3410"/>
                    <a:pt x="1161650" y="0"/>
                    <a:pt x="1170689" y="0"/>
                  </a:cubicBezTo>
                  <a:cubicBezTo>
                    <a:pt x="1180167" y="0"/>
                    <a:pt x="1184158" y="4010"/>
                    <a:pt x="1189939" y="17221"/>
                  </a:cubicBezTo>
                  <a:lnTo>
                    <a:pt x="1225039" y="99022"/>
                  </a:lnTo>
                  <a:cubicBezTo>
                    <a:pt x="1225477" y="100212"/>
                    <a:pt x="1226220" y="101403"/>
                    <a:pt x="1227401" y="101403"/>
                  </a:cubicBezTo>
                  <a:cubicBezTo>
                    <a:pt x="1228592" y="101403"/>
                    <a:pt x="1228735" y="99470"/>
                    <a:pt x="1228735" y="99022"/>
                  </a:cubicBezTo>
                  <a:lnTo>
                    <a:pt x="1242508" y="12763"/>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8" name="Freeform: Shape 56">
              <a:extLst>
                <a:ext uri="{FF2B5EF4-FFF2-40B4-BE49-F238E27FC236}">
                  <a16:creationId xmlns:a16="http://schemas.microsoft.com/office/drawing/2014/main" id="{DD05EB12-DD95-7063-1957-E06C80243607}"/>
                </a:ext>
              </a:extLst>
            </p:cNvPr>
            <p:cNvSpPr/>
            <p:nvPr/>
          </p:nvSpPr>
          <p:spPr>
            <a:xfrm>
              <a:off x="4138526" y="2367086"/>
              <a:ext cx="1305010" cy="554526"/>
            </a:xfrm>
            <a:custGeom>
              <a:avLst/>
              <a:gdLst>
                <a:gd name="connsiteX0" fmla="*/ 51092 w 1305010"/>
                <a:gd name="connsiteY0" fmla="*/ 188404 h 554526"/>
                <a:gd name="connsiteX1" fmla="*/ 103670 w 1305010"/>
                <a:gd name="connsiteY1" fmla="*/ 146685 h 554526"/>
                <a:gd name="connsiteX2" fmla="*/ 148390 w 1305010"/>
                <a:gd name="connsiteY2" fmla="*/ 180537 h 554526"/>
                <a:gd name="connsiteX3" fmla="*/ 145285 w 1305010"/>
                <a:gd name="connsiteY3" fmla="*/ 208893 h 554526"/>
                <a:gd name="connsiteX4" fmla="*/ 98184 w 1305010"/>
                <a:gd name="connsiteY4" fmla="*/ 512807 h 554526"/>
                <a:gd name="connsiteX5" fmla="*/ 44729 w 1305010"/>
                <a:gd name="connsiteY5" fmla="*/ 554527 h 554526"/>
                <a:gd name="connsiteX6" fmla="*/ 0 w 1305010"/>
                <a:gd name="connsiteY6" fmla="*/ 520675 h 554526"/>
                <a:gd name="connsiteX7" fmla="*/ 3115 w 1305010"/>
                <a:gd name="connsiteY7" fmla="*/ 492319 h 554526"/>
                <a:gd name="connsiteX8" fmla="*/ 50949 w 1305010"/>
                <a:gd name="connsiteY8" fmla="*/ 188404 h 554526"/>
                <a:gd name="connsiteX9" fmla="*/ 51092 w 1305010"/>
                <a:gd name="connsiteY9" fmla="*/ 188404 h 554526"/>
                <a:gd name="connsiteX10" fmla="*/ 359578 w 1305010"/>
                <a:gd name="connsiteY10" fmla="*/ 157677 h 554526"/>
                <a:gd name="connsiteX11" fmla="*/ 367427 w 1305010"/>
                <a:gd name="connsiteY11" fmla="*/ 167916 h 554526"/>
                <a:gd name="connsiteX12" fmla="*/ 384753 w 1305010"/>
                <a:gd name="connsiteY12" fmla="*/ 157677 h 554526"/>
                <a:gd name="connsiteX13" fmla="*/ 433473 w 1305010"/>
                <a:gd name="connsiteY13" fmla="*/ 146685 h 554526"/>
                <a:gd name="connsiteX14" fmla="*/ 565423 w 1305010"/>
                <a:gd name="connsiteY14" fmla="*/ 282092 h 554526"/>
                <a:gd name="connsiteX15" fmla="*/ 559203 w 1305010"/>
                <a:gd name="connsiteY15" fmla="*/ 350530 h 554526"/>
                <a:gd name="connsiteX16" fmla="*/ 386524 w 1305010"/>
                <a:gd name="connsiteY16" fmla="*/ 554374 h 554526"/>
                <a:gd name="connsiteX17" fmla="*/ 321374 w 1305010"/>
                <a:gd name="connsiteY17" fmla="*/ 536267 h 554526"/>
                <a:gd name="connsiteX18" fmla="*/ 304924 w 1305010"/>
                <a:gd name="connsiteY18" fmla="*/ 524389 h 554526"/>
                <a:gd name="connsiteX19" fmla="*/ 299447 w 1305010"/>
                <a:gd name="connsiteY19" fmla="*/ 526761 h 554526"/>
                <a:gd name="connsiteX20" fmla="*/ 294704 w 1305010"/>
                <a:gd name="connsiteY20" fmla="*/ 532257 h 554526"/>
                <a:gd name="connsiteX21" fmla="*/ 248355 w 1305010"/>
                <a:gd name="connsiteY21" fmla="*/ 554231 h 554526"/>
                <a:gd name="connsiteX22" fmla="*/ 205111 w 1305010"/>
                <a:gd name="connsiteY22" fmla="*/ 518741 h 554526"/>
                <a:gd name="connsiteX23" fmla="*/ 209112 w 1305010"/>
                <a:gd name="connsiteY23" fmla="*/ 490385 h 554526"/>
                <a:gd name="connsiteX24" fmla="*/ 279749 w 1305010"/>
                <a:gd name="connsiteY24" fmla="*/ 41719 h 554526"/>
                <a:gd name="connsiteX25" fmla="*/ 332327 w 1305010"/>
                <a:gd name="connsiteY25" fmla="*/ 0 h 554526"/>
                <a:gd name="connsiteX26" fmla="*/ 377047 w 1305010"/>
                <a:gd name="connsiteY26" fmla="*/ 33852 h 554526"/>
                <a:gd name="connsiteX27" fmla="*/ 373942 w 1305010"/>
                <a:gd name="connsiteY27" fmla="*/ 62208 h 554526"/>
                <a:gd name="connsiteX28" fmla="*/ 359874 w 1305010"/>
                <a:gd name="connsiteY28" fmla="*/ 157382 h 554526"/>
                <a:gd name="connsiteX29" fmla="*/ 359578 w 1305010"/>
                <a:gd name="connsiteY29" fmla="*/ 157667 h 554526"/>
                <a:gd name="connsiteX30" fmla="*/ 458505 w 1305010"/>
                <a:gd name="connsiteY30" fmla="*/ 350530 h 554526"/>
                <a:gd name="connsiteX31" fmla="*/ 463982 w 1305010"/>
                <a:gd name="connsiteY31" fmla="*/ 294561 h 554526"/>
                <a:gd name="connsiteX32" fmla="*/ 409042 w 1305010"/>
                <a:gd name="connsiteY32" fmla="*/ 240221 h 554526"/>
                <a:gd name="connsiteX33" fmla="*/ 328917 w 1305010"/>
                <a:gd name="connsiteY33" fmla="*/ 350387 h 554526"/>
                <a:gd name="connsiteX34" fmla="*/ 323440 w 1305010"/>
                <a:gd name="connsiteY34" fmla="*/ 404727 h 554526"/>
                <a:gd name="connsiteX35" fmla="*/ 373637 w 1305010"/>
                <a:gd name="connsiteY35" fmla="*/ 460543 h 554526"/>
                <a:gd name="connsiteX36" fmla="*/ 458505 w 1305010"/>
                <a:gd name="connsiteY36" fmla="*/ 350387 h 554526"/>
                <a:gd name="connsiteX37" fmla="*/ 458505 w 1305010"/>
                <a:gd name="connsiteY37" fmla="*/ 350530 h 554526"/>
                <a:gd name="connsiteX38" fmla="*/ 723890 w 1305010"/>
                <a:gd name="connsiteY38" fmla="*/ 409623 h 554526"/>
                <a:gd name="connsiteX39" fmla="*/ 785203 w 1305010"/>
                <a:gd name="connsiteY39" fmla="*/ 460839 h 554526"/>
                <a:gd name="connsiteX40" fmla="*/ 857469 w 1305010"/>
                <a:gd name="connsiteY40" fmla="*/ 444360 h 554526"/>
                <a:gd name="connsiteX41" fmla="*/ 893607 w 1305010"/>
                <a:gd name="connsiteY41" fmla="*/ 430997 h 554526"/>
                <a:gd name="connsiteX42" fmla="*/ 933593 w 1305010"/>
                <a:gd name="connsiteY42" fmla="*/ 476583 h 554526"/>
                <a:gd name="connsiteX43" fmla="*/ 913152 w 1305010"/>
                <a:gd name="connsiteY43" fmla="*/ 512064 h 554526"/>
                <a:gd name="connsiteX44" fmla="*/ 764019 w 1305010"/>
                <a:gd name="connsiteY44" fmla="*/ 554527 h 554526"/>
                <a:gd name="connsiteX45" fmla="*/ 623478 w 1305010"/>
                <a:gd name="connsiteY45" fmla="*/ 420757 h 554526"/>
                <a:gd name="connsiteX46" fmla="*/ 629698 w 1305010"/>
                <a:gd name="connsiteY46" fmla="*/ 350682 h 554526"/>
                <a:gd name="connsiteX47" fmla="*/ 828294 w 1305010"/>
                <a:gd name="connsiteY47" fmla="*/ 146837 h 554526"/>
                <a:gd name="connsiteX48" fmla="*/ 966464 w 1305010"/>
                <a:gd name="connsiteY48" fmla="*/ 278225 h 554526"/>
                <a:gd name="connsiteX49" fmla="*/ 962473 w 1305010"/>
                <a:gd name="connsiteY49" fmla="*/ 328555 h 554526"/>
                <a:gd name="connsiteX50" fmla="*/ 905894 w 1305010"/>
                <a:gd name="connsiteY50" fmla="*/ 387648 h 554526"/>
                <a:gd name="connsiteX51" fmla="*/ 733958 w 1305010"/>
                <a:gd name="connsiteY51" fmla="*/ 387648 h 554526"/>
                <a:gd name="connsiteX52" fmla="*/ 724481 w 1305010"/>
                <a:gd name="connsiteY52" fmla="*/ 395516 h 554526"/>
                <a:gd name="connsiteX53" fmla="*/ 723738 w 1305010"/>
                <a:gd name="connsiteY53" fmla="*/ 409765 h 554526"/>
                <a:gd name="connsiteX54" fmla="*/ 723890 w 1305010"/>
                <a:gd name="connsiteY54" fmla="*/ 409623 h 554526"/>
                <a:gd name="connsiteX55" fmla="*/ 871537 w 1305010"/>
                <a:gd name="connsiteY55" fmla="*/ 288322 h 554526"/>
                <a:gd name="connsiteX56" fmla="*/ 815702 w 1305010"/>
                <a:gd name="connsiteY56" fmla="*/ 233982 h 554526"/>
                <a:gd name="connsiteX57" fmla="*/ 739588 w 1305010"/>
                <a:gd name="connsiteY57" fmla="*/ 303324 h 554526"/>
                <a:gd name="connsiteX58" fmla="*/ 744322 w 1305010"/>
                <a:gd name="connsiteY58" fmla="*/ 310448 h 554526"/>
                <a:gd name="connsiteX59" fmla="*/ 863689 w 1305010"/>
                <a:gd name="connsiteY59" fmla="*/ 310448 h 554526"/>
                <a:gd name="connsiteX60" fmla="*/ 869909 w 1305010"/>
                <a:gd name="connsiteY60" fmla="*/ 304209 h 554526"/>
                <a:gd name="connsiteX61" fmla="*/ 871537 w 1305010"/>
                <a:gd name="connsiteY61" fmla="*/ 288474 h 554526"/>
                <a:gd name="connsiteX62" fmla="*/ 871537 w 1305010"/>
                <a:gd name="connsiteY62" fmla="*/ 288322 h 554526"/>
                <a:gd name="connsiteX63" fmla="*/ 1171280 w 1305010"/>
                <a:gd name="connsiteY63" fmla="*/ 175041 h 554526"/>
                <a:gd name="connsiteX64" fmla="*/ 1175280 w 1305010"/>
                <a:gd name="connsiteY64" fmla="*/ 179051 h 554526"/>
                <a:gd name="connsiteX65" fmla="*/ 1182386 w 1305010"/>
                <a:gd name="connsiteY65" fmla="*/ 175050 h 554526"/>
                <a:gd name="connsiteX66" fmla="*/ 1251547 w 1305010"/>
                <a:gd name="connsiteY66" fmla="*/ 146685 h 554526"/>
                <a:gd name="connsiteX67" fmla="*/ 1305011 w 1305010"/>
                <a:gd name="connsiteY67" fmla="*/ 188404 h 554526"/>
                <a:gd name="connsiteX68" fmla="*/ 1255548 w 1305010"/>
                <a:gd name="connsiteY68" fmla="*/ 245859 h 554526"/>
                <a:gd name="connsiteX69" fmla="*/ 1221781 w 1305010"/>
                <a:gd name="connsiteY69" fmla="*/ 245116 h 554526"/>
                <a:gd name="connsiteX70" fmla="*/ 1151877 w 1305010"/>
                <a:gd name="connsiteY70" fmla="*/ 313563 h 554526"/>
                <a:gd name="connsiteX71" fmla="*/ 1120483 w 1305010"/>
                <a:gd name="connsiteY71" fmla="*/ 512655 h 554526"/>
                <a:gd name="connsiteX72" fmla="*/ 1067019 w 1305010"/>
                <a:gd name="connsiteY72" fmla="*/ 554374 h 554526"/>
                <a:gd name="connsiteX73" fmla="*/ 1022299 w 1305010"/>
                <a:gd name="connsiteY73" fmla="*/ 520522 h 554526"/>
                <a:gd name="connsiteX74" fmla="*/ 1025404 w 1305010"/>
                <a:gd name="connsiteY74" fmla="*/ 492166 h 554526"/>
                <a:gd name="connsiteX75" fmla="*/ 1073239 w 1305010"/>
                <a:gd name="connsiteY75" fmla="*/ 188262 h 554526"/>
                <a:gd name="connsiteX76" fmla="*/ 1125817 w 1305010"/>
                <a:gd name="connsiteY76" fmla="*/ 146542 h 554526"/>
                <a:gd name="connsiteX77" fmla="*/ 1169060 w 1305010"/>
                <a:gd name="connsiteY77" fmla="*/ 167773 h 554526"/>
                <a:gd name="connsiteX78" fmla="*/ 1171432 w 1305010"/>
                <a:gd name="connsiteY78" fmla="*/ 174898 h 554526"/>
                <a:gd name="connsiteX79" fmla="*/ 1171280 w 1305010"/>
                <a:gd name="connsiteY79" fmla="*/ 175041 h 55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05010" h="554526">
                  <a:moveTo>
                    <a:pt x="51092" y="188404"/>
                  </a:moveTo>
                  <a:cubicBezTo>
                    <a:pt x="56569" y="152181"/>
                    <a:pt x="81001" y="146685"/>
                    <a:pt x="103670" y="146685"/>
                  </a:cubicBezTo>
                  <a:cubicBezTo>
                    <a:pt x="124844" y="146685"/>
                    <a:pt x="148390" y="154553"/>
                    <a:pt x="148390" y="180537"/>
                  </a:cubicBezTo>
                  <a:cubicBezTo>
                    <a:pt x="148390" y="186919"/>
                    <a:pt x="146771" y="198653"/>
                    <a:pt x="145285" y="208893"/>
                  </a:cubicBezTo>
                  <a:lnTo>
                    <a:pt x="98184" y="512807"/>
                  </a:lnTo>
                  <a:cubicBezTo>
                    <a:pt x="92707" y="549031"/>
                    <a:pt x="67532" y="554527"/>
                    <a:pt x="44729" y="554527"/>
                  </a:cubicBezTo>
                  <a:cubicBezTo>
                    <a:pt x="23546" y="554527"/>
                    <a:pt x="0" y="546659"/>
                    <a:pt x="0" y="520675"/>
                  </a:cubicBezTo>
                  <a:cubicBezTo>
                    <a:pt x="0" y="514436"/>
                    <a:pt x="1629" y="502558"/>
                    <a:pt x="3115" y="492319"/>
                  </a:cubicBezTo>
                  <a:lnTo>
                    <a:pt x="50949" y="188404"/>
                  </a:lnTo>
                  <a:lnTo>
                    <a:pt x="51092" y="188404"/>
                  </a:lnTo>
                  <a:close/>
                  <a:moveTo>
                    <a:pt x="359578" y="157677"/>
                  </a:moveTo>
                  <a:cubicBezTo>
                    <a:pt x="357940" y="167173"/>
                    <a:pt x="364312" y="167916"/>
                    <a:pt x="367427" y="167916"/>
                  </a:cubicBezTo>
                  <a:cubicBezTo>
                    <a:pt x="371427" y="167916"/>
                    <a:pt x="375275" y="162430"/>
                    <a:pt x="384753" y="157677"/>
                  </a:cubicBezTo>
                  <a:cubicBezTo>
                    <a:pt x="403555" y="148171"/>
                    <a:pt x="420148" y="146685"/>
                    <a:pt x="433473" y="146685"/>
                  </a:cubicBezTo>
                  <a:cubicBezTo>
                    <a:pt x="519808" y="146685"/>
                    <a:pt x="565423" y="200282"/>
                    <a:pt x="565423" y="282092"/>
                  </a:cubicBezTo>
                  <a:cubicBezTo>
                    <a:pt x="565423" y="304209"/>
                    <a:pt x="563051" y="326184"/>
                    <a:pt x="559203" y="350530"/>
                  </a:cubicBezTo>
                  <a:cubicBezTo>
                    <a:pt x="538772" y="467820"/>
                    <a:pt x="501891" y="554374"/>
                    <a:pt x="386524" y="554374"/>
                  </a:cubicBezTo>
                  <a:cubicBezTo>
                    <a:pt x="362236" y="554374"/>
                    <a:pt x="337804" y="548888"/>
                    <a:pt x="321374" y="536267"/>
                  </a:cubicBezTo>
                  <a:cubicBezTo>
                    <a:pt x="314258" y="530771"/>
                    <a:pt x="308781" y="524389"/>
                    <a:pt x="304924" y="524389"/>
                  </a:cubicBezTo>
                  <a:cubicBezTo>
                    <a:pt x="302829" y="524294"/>
                    <a:pt x="300807" y="525161"/>
                    <a:pt x="299447" y="526761"/>
                  </a:cubicBezTo>
                  <a:lnTo>
                    <a:pt x="294704" y="532257"/>
                  </a:lnTo>
                  <a:cubicBezTo>
                    <a:pt x="283750" y="544878"/>
                    <a:pt x="272796" y="554231"/>
                    <a:pt x="248355" y="554231"/>
                  </a:cubicBezTo>
                  <a:cubicBezTo>
                    <a:pt x="226438" y="554231"/>
                    <a:pt x="205111" y="544725"/>
                    <a:pt x="205111" y="518741"/>
                  </a:cubicBezTo>
                  <a:cubicBezTo>
                    <a:pt x="205111" y="511616"/>
                    <a:pt x="207483" y="499891"/>
                    <a:pt x="209112" y="490385"/>
                  </a:cubicBezTo>
                  <a:lnTo>
                    <a:pt x="279749" y="41719"/>
                  </a:lnTo>
                  <a:cubicBezTo>
                    <a:pt x="285226" y="5496"/>
                    <a:pt x="309515" y="0"/>
                    <a:pt x="332327" y="0"/>
                  </a:cubicBezTo>
                  <a:cubicBezTo>
                    <a:pt x="353501" y="0"/>
                    <a:pt x="377047" y="7868"/>
                    <a:pt x="377047" y="33852"/>
                  </a:cubicBezTo>
                  <a:cubicBezTo>
                    <a:pt x="377047" y="40234"/>
                    <a:pt x="375428" y="51968"/>
                    <a:pt x="373942" y="62208"/>
                  </a:cubicBezTo>
                  <a:lnTo>
                    <a:pt x="359874" y="157382"/>
                  </a:lnTo>
                  <a:lnTo>
                    <a:pt x="359578" y="157667"/>
                  </a:lnTo>
                  <a:close/>
                  <a:moveTo>
                    <a:pt x="458505" y="350530"/>
                  </a:moveTo>
                  <a:cubicBezTo>
                    <a:pt x="461610" y="331680"/>
                    <a:pt x="463982" y="308810"/>
                    <a:pt x="463982" y="294561"/>
                  </a:cubicBezTo>
                  <a:cubicBezTo>
                    <a:pt x="463982" y="263823"/>
                    <a:pt x="452133" y="240221"/>
                    <a:pt x="409042" y="240221"/>
                  </a:cubicBezTo>
                  <a:cubicBezTo>
                    <a:pt x="346243" y="240221"/>
                    <a:pt x="336766" y="300057"/>
                    <a:pt x="328917" y="350387"/>
                  </a:cubicBezTo>
                  <a:cubicBezTo>
                    <a:pt x="326546" y="365379"/>
                    <a:pt x="323440" y="388096"/>
                    <a:pt x="323440" y="404727"/>
                  </a:cubicBezTo>
                  <a:cubicBezTo>
                    <a:pt x="323440" y="436940"/>
                    <a:pt x="335290" y="460543"/>
                    <a:pt x="373637" y="460543"/>
                  </a:cubicBezTo>
                  <a:cubicBezTo>
                    <a:pt x="435693" y="460543"/>
                    <a:pt x="447389" y="421948"/>
                    <a:pt x="458505" y="350387"/>
                  </a:cubicBezTo>
                  <a:lnTo>
                    <a:pt x="458505" y="350530"/>
                  </a:lnTo>
                  <a:close/>
                  <a:moveTo>
                    <a:pt x="723890" y="409623"/>
                  </a:moveTo>
                  <a:cubicBezTo>
                    <a:pt x="723890" y="441836"/>
                    <a:pt x="737216" y="460839"/>
                    <a:pt x="785203" y="460839"/>
                  </a:cubicBezTo>
                  <a:cubicBezTo>
                    <a:pt x="807120" y="460839"/>
                    <a:pt x="837028" y="455352"/>
                    <a:pt x="857469" y="444360"/>
                  </a:cubicBezTo>
                  <a:cubicBezTo>
                    <a:pt x="870795" y="437236"/>
                    <a:pt x="879386" y="430997"/>
                    <a:pt x="893607" y="430997"/>
                  </a:cubicBezTo>
                  <a:cubicBezTo>
                    <a:pt x="917896" y="430997"/>
                    <a:pt x="933593" y="454609"/>
                    <a:pt x="933593" y="476583"/>
                  </a:cubicBezTo>
                  <a:cubicBezTo>
                    <a:pt x="933593" y="489937"/>
                    <a:pt x="928849" y="500929"/>
                    <a:pt x="913152" y="512064"/>
                  </a:cubicBezTo>
                  <a:cubicBezTo>
                    <a:pt x="867689" y="544278"/>
                    <a:pt x="817331" y="554527"/>
                    <a:pt x="764019" y="554527"/>
                  </a:cubicBezTo>
                  <a:cubicBezTo>
                    <a:pt x="666721" y="554527"/>
                    <a:pt x="623478" y="500929"/>
                    <a:pt x="623478" y="420757"/>
                  </a:cubicBezTo>
                  <a:cubicBezTo>
                    <a:pt x="623478" y="401012"/>
                    <a:pt x="625850" y="374285"/>
                    <a:pt x="629698" y="350682"/>
                  </a:cubicBezTo>
                  <a:cubicBezTo>
                    <a:pt x="650138" y="230276"/>
                    <a:pt x="680790" y="146837"/>
                    <a:pt x="828294" y="146837"/>
                  </a:cubicBezTo>
                  <a:cubicBezTo>
                    <a:pt x="915524" y="146837"/>
                    <a:pt x="966464" y="196425"/>
                    <a:pt x="966464" y="278225"/>
                  </a:cubicBezTo>
                  <a:cubicBezTo>
                    <a:pt x="966464" y="293970"/>
                    <a:pt x="965730" y="310448"/>
                    <a:pt x="962473" y="328555"/>
                  </a:cubicBezTo>
                  <a:cubicBezTo>
                    <a:pt x="957729" y="357654"/>
                    <a:pt x="949138" y="387648"/>
                    <a:pt x="905894" y="387648"/>
                  </a:cubicBezTo>
                  <a:lnTo>
                    <a:pt x="733958" y="387648"/>
                  </a:lnTo>
                  <a:cubicBezTo>
                    <a:pt x="729282" y="387553"/>
                    <a:pt x="725243" y="390906"/>
                    <a:pt x="724481" y="395516"/>
                  </a:cubicBezTo>
                  <a:cubicBezTo>
                    <a:pt x="723738" y="400269"/>
                    <a:pt x="723738" y="405022"/>
                    <a:pt x="723738" y="409765"/>
                  </a:cubicBezTo>
                  <a:lnTo>
                    <a:pt x="723890" y="409623"/>
                  </a:lnTo>
                  <a:close/>
                  <a:moveTo>
                    <a:pt x="871537" y="288322"/>
                  </a:moveTo>
                  <a:cubicBezTo>
                    <a:pt x="871537" y="256851"/>
                    <a:pt x="858212" y="233982"/>
                    <a:pt x="815702" y="233982"/>
                  </a:cubicBezTo>
                  <a:cubicBezTo>
                    <a:pt x="766239" y="233982"/>
                    <a:pt x="745808" y="263823"/>
                    <a:pt x="739588" y="303324"/>
                  </a:cubicBezTo>
                  <a:cubicBezTo>
                    <a:pt x="738845" y="308810"/>
                    <a:pt x="741216" y="310448"/>
                    <a:pt x="744322" y="310448"/>
                  </a:cubicBezTo>
                  <a:lnTo>
                    <a:pt x="863689" y="310448"/>
                  </a:lnTo>
                  <a:cubicBezTo>
                    <a:pt x="867689" y="310448"/>
                    <a:pt x="869166" y="308067"/>
                    <a:pt x="869909" y="304209"/>
                  </a:cubicBezTo>
                  <a:cubicBezTo>
                    <a:pt x="870652" y="298714"/>
                    <a:pt x="871537" y="293227"/>
                    <a:pt x="871537" y="288474"/>
                  </a:cubicBezTo>
                  <a:lnTo>
                    <a:pt x="871537" y="288322"/>
                  </a:lnTo>
                  <a:close/>
                  <a:moveTo>
                    <a:pt x="1171280" y="175041"/>
                  </a:moveTo>
                  <a:cubicBezTo>
                    <a:pt x="1172023" y="178165"/>
                    <a:pt x="1173651" y="179051"/>
                    <a:pt x="1175280" y="179051"/>
                  </a:cubicBezTo>
                  <a:cubicBezTo>
                    <a:pt x="1176909" y="179051"/>
                    <a:pt x="1179281" y="177422"/>
                    <a:pt x="1182386" y="175050"/>
                  </a:cubicBezTo>
                  <a:cubicBezTo>
                    <a:pt x="1202827" y="159306"/>
                    <a:pt x="1223258" y="146685"/>
                    <a:pt x="1251547" y="146685"/>
                  </a:cubicBezTo>
                  <a:cubicBezTo>
                    <a:pt x="1286056" y="146685"/>
                    <a:pt x="1305011" y="157677"/>
                    <a:pt x="1305011" y="188404"/>
                  </a:cubicBezTo>
                  <a:cubicBezTo>
                    <a:pt x="1305011" y="213646"/>
                    <a:pt x="1297905" y="245859"/>
                    <a:pt x="1255548" y="245859"/>
                  </a:cubicBezTo>
                  <a:cubicBezTo>
                    <a:pt x="1232745" y="245859"/>
                    <a:pt x="1233630" y="245116"/>
                    <a:pt x="1221781" y="245116"/>
                  </a:cubicBezTo>
                  <a:cubicBezTo>
                    <a:pt x="1202969" y="245116"/>
                    <a:pt x="1162098" y="246755"/>
                    <a:pt x="1151877" y="313563"/>
                  </a:cubicBezTo>
                  <a:lnTo>
                    <a:pt x="1120483" y="512655"/>
                  </a:lnTo>
                  <a:cubicBezTo>
                    <a:pt x="1115006" y="548888"/>
                    <a:pt x="1089831" y="554374"/>
                    <a:pt x="1067019" y="554374"/>
                  </a:cubicBezTo>
                  <a:cubicBezTo>
                    <a:pt x="1045845" y="554374"/>
                    <a:pt x="1022299" y="546506"/>
                    <a:pt x="1022299" y="520522"/>
                  </a:cubicBezTo>
                  <a:cubicBezTo>
                    <a:pt x="1022299" y="514293"/>
                    <a:pt x="1023928" y="502415"/>
                    <a:pt x="1025404" y="492166"/>
                  </a:cubicBezTo>
                  <a:lnTo>
                    <a:pt x="1073239" y="188262"/>
                  </a:lnTo>
                  <a:cubicBezTo>
                    <a:pt x="1078725" y="152029"/>
                    <a:pt x="1103157" y="146542"/>
                    <a:pt x="1125817" y="146542"/>
                  </a:cubicBezTo>
                  <a:cubicBezTo>
                    <a:pt x="1146991" y="146542"/>
                    <a:pt x="1161212" y="151295"/>
                    <a:pt x="1169060" y="167773"/>
                  </a:cubicBezTo>
                  <a:cubicBezTo>
                    <a:pt x="1170689" y="170888"/>
                    <a:pt x="1171432" y="174898"/>
                    <a:pt x="1171432" y="174898"/>
                  </a:cubicBezTo>
                  <a:lnTo>
                    <a:pt x="1171280" y="175041"/>
                  </a:lnTo>
                  <a:close/>
                </a:path>
              </a:pathLst>
            </a:custGeom>
            <a:solidFill>
              <a:srgbClr val="081835"/>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0" name="Freeform: Shape 57">
              <a:extLst>
                <a:ext uri="{FF2B5EF4-FFF2-40B4-BE49-F238E27FC236}">
                  <a16:creationId xmlns:a16="http://schemas.microsoft.com/office/drawing/2014/main" id="{D6C83D17-BD61-D595-FE47-87FCAC13BE08}"/>
                </a:ext>
              </a:extLst>
            </p:cNvPr>
            <p:cNvSpPr/>
            <p:nvPr/>
          </p:nvSpPr>
          <p:spPr>
            <a:xfrm>
              <a:off x="3700462" y="2370200"/>
              <a:ext cx="612962" cy="551411"/>
            </a:xfrm>
            <a:custGeom>
              <a:avLst/>
              <a:gdLst>
                <a:gd name="connsiteX0" fmla="*/ 562613 w 612962"/>
                <a:gd name="connsiteY0" fmla="*/ 152 h 551411"/>
                <a:gd name="connsiteX1" fmla="*/ 297971 w 612962"/>
                <a:gd name="connsiteY1" fmla="*/ 152 h 551411"/>
                <a:gd name="connsiteX2" fmla="*/ 47092 w 612962"/>
                <a:gd name="connsiteY2" fmla="*/ 214684 h 551411"/>
                <a:gd name="connsiteX3" fmla="*/ 42062 w 612962"/>
                <a:gd name="connsiteY3" fmla="*/ 246612 h 551411"/>
                <a:gd name="connsiteX4" fmla="*/ 4000 w 612962"/>
                <a:gd name="connsiteY4" fmla="*/ 486823 h 551411"/>
                <a:gd name="connsiteX5" fmla="*/ 0 w 612962"/>
                <a:gd name="connsiteY5" fmla="*/ 515922 h 551411"/>
                <a:gd name="connsiteX6" fmla="*/ 45463 w 612962"/>
                <a:gd name="connsiteY6" fmla="*/ 551412 h 551411"/>
                <a:gd name="connsiteX7" fmla="*/ 102775 w 612962"/>
                <a:gd name="connsiteY7" fmla="*/ 508054 h 551411"/>
                <a:gd name="connsiteX8" fmla="*/ 107518 w 612962"/>
                <a:gd name="connsiteY8" fmla="*/ 477326 h 551411"/>
                <a:gd name="connsiteX9" fmla="*/ 108109 w 612962"/>
                <a:gd name="connsiteY9" fmla="*/ 475098 h 551411"/>
                <a:gd name="connsiteX10" fmla="*/ 132398 w 612962"/>
                <a:gd name="connsiteY10" fmla="*/ 320097 h 551411"/>
                <a:gd name="connsiteX11" fmla="*/ 140399 w 612962"/>
                <a:gd name="connsiteY11" fmla="*/ 315201 h 551411"/>
                <a:gd name="connsiteX12" fmla="*/ 287160 w 612962"/>
                <a:gd name="connsiteY12" fmla="*/ 315201 h 551411"/>
                <a:gd name="connsiteX13" fmla="*/ 347577 w 612962"/>
                <a:gd name="connsiteY13" fmla="*/ 259223 h 551411"/>
                <a:gd name="connsiteX14" fmla="*/ 305219 w 612962"/>
                <a:gd name="connsiteY14" fmla="*/ 215884 h 551411"/>
                <a:gd name="connsiteX15" fmla="*/ 149581 w 612962"/>
                <a:gd name="connsiteY15" fmla="*/ 215884 h 551411"/>
                <a:gd name="connsiteX16" fmla="*/ 297971 w 612962"/>
                <a:gd name="connsiteY16" fmla="*/ 100965 h 551411"/>
                <a:gd name="connsiteX17" fmla="*/ 562613 w 612962"/>
                <a:gd name="connsiteY17" fmla="*/ 100965 h 551411"/>
                <a:gd name="connsiteX18" fmla="*/ 612962 w 612962"/>
                <a:gd name="connsiteY18" fmla="*/ 50559 h 551411"/>
                <a:gd name="connsiteX19" fmla="*/ 612962 w 612962"/>
                <a:gd name="connsiteY19" fmla="*/ 50483 h 551411"/>
                <a:gd name="connsiteX20" fmla="*/ 562613 w 612962"/>
                <a:gd name="connsiteY20" fmla="*/ 0 h 551411"/>
                <a:gd name="connsiteX21" fmla="*/ 562613 w 612962"/>
                <a:gd name="connsiteY21" fmla="*/ 152 h 55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962" h="551411">
                  <a:moveTo>
                    <a:pt x="562613" y="152"/>
                  </a:moveTo>
                  <a:lnTo>
                    <a:pt x="297971" y="152"/>
                  </a:lnTo>
                  <a:cubicBezTo>
                    <a:pt x="172526" y="152"/>
                    <a:pt x="66942" y="90278"/>
                    <a:pt x="47092" y="214684"/>
                  </a:cubicBezTo>
                  <a:lnTo>
                    <a:pt x="42062" y="246612"/>
                  </a:lnTo>
                  <a:lnTo>
                    <a:pt x="4000" y="486823"/>
                  </a:lnTo>
                  <a:cubicBezTo>
                    <a:pt x="1629" y="499443"/>
                    <a:pt x="0" y="511178"/>
                    <a:pt x="0" y="515922"/>
                  </a:cubicBezTo>
                  <a:cubicBezTo>
                    <a:pt x="0" y="543544"/>
                    <a:pt x="23546" y="551412"/>
                    <a:pt x="45463" y="551412"/>
                  </a:cubicBezTo>
                  <a:cubicBezTo>
                    <a:pt x="75371" y="551412"/>
                    <a:pt x="97298" y="542801"/>
                    <a:pt x="102775" y="508054"/>
                  </a:cubicBezTo>
                  <a:lnTo>
                    <a:pt x="107518" y="477326"/>
                  </a:lnTo>
                  <a:cubicBezTo>
                    <a:pt x="107661" y="476583"/>
                    <a:pt x="107956" y="475840"/>
                    <a:pt x="108109" y="475098"/>
                  </a:cubicBezTo>
                  <a:lnTo>
                    <a:pt x="132398" y="320097"/>
                  </a:lnTo>
                  <a:cubicBezTo>
                    <a:pt x="133436" y="316535"/>
                    <a:pt x="135798" y="315201"/>
                    <a:pt x="140399" y="315201"/>
                  </a:cubicBezTo>
                  <a:lnTo>
                    <a:pt x="287160" y="315201"/>
                  </a:lnTo>
                  <a:cubicBezTo>
                    <a:pt x="328774" y="315201"/>
                    <a:pt x="347577" y="289217"/>
                    <a:pt x="347577" y="259223"/>
                  </a:cubicBezTo>
                  <a:cubicBezTo>
                    <a:pt x="347577" y="236363"/>
                    <a:pt x="336623" y="215884"/>
                    <a:pt x="305219" y="215884"/>
                  </a:cubicBezTo>
                  <a:lnTo>
                    <a:pt x="149581" y="215884"/>
                  </a:lnTo>
                  <a:cubicBezTo>
                    <a:pt x="167049" y="148476"/>
                    <a:pt x="227181" y="100965"/>
                    <a:pt x="297971" y="100965"/>
                  </a:cubicBezTo>
                  <a:lnTo>
                    <a:pt x="562613" y="100965"/>
                  </a:lnTo>
                  <a:cubicBezTo>
                    <a:pt x="590436" y="100950"/>
                    <a:pt x="612979" y="78381"/>
                    <a:pt x="612962" y="50559"/>
                  </a:cubicBezTo>
                  <a:cubicBezTo>
                    <a:pt x="612962" y="50533"/>
                    <a:pt x="612962" y="50508"/>
                    <a:pt x="612962" y="50483"/>
                  </a:cubicBezTo>
                  <a:cubicBezTo>
                    <a:pt x="612962" y="22574"/>
                    <a:pt x="590455" y="0"/>
                    <a:pt x="562613" y="0"/>
                  </a:cubicBezTo>
                  <a:lnTo>
                    <a:pt x="562613" y="152"/>
                  </a:lnTo>
                  <a:close/>
                </a:path>
              </a:pathLst>
            </a:custGeom>
            <a:solidFill>
              <a:srgbClr val="081835"/>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1" name="Freeform: Shape 58">
              <a:extLst>
                <a:ext uri="{FF2B5EF4-FFF2-40B4-BE49-F238E27FC236}">
                  <a16:creationId xmlns:a16="http://schemas.microsoft.com/office/drawing/2014/main" id="{E5AD17E2-9EB6-AE8E-1658-7FDA005861A0}"/>
                </a:ext>
              </a:extLst>
            </p:cNvPr>
            <p:cNvSpPr/>
            <p:nvPr/>
          </p:nvSpPr>
          <p:spPr>
            <a:xfrm>
              <a:off x="3883503" y="1753181"/>
              <a:ext cx="348472" cy="386610"/>
            </a:xfrm>
            <a:custGeom>
              <a:avLst/>
              <a:gdLst>
                <a:gd name="connsiteX0" fmla="*/ 244954 w 348472"/>
                <a:gd name="connsiteY0" fmla="*/ 68590 h 386610"/>
                <a:gd name="connsiteX1" fmla="*/ 220513 w 348472"/>
                <a:gd name="connsiteY1" fmla="*/ 60722 h 386610"/>
                <a:gd name="connsiteX2" fmla="*/ 139360 w 348472"/>
                <a:gd name="connsiteY2" fmla="*/ 30728 h 386610"/>
                <a:gd name="connsiteX3" fmla="*/ 11849 w 348472"/>
                <a:gd name="connsiteY3" fmla="*/ 210674 h 386610"/>
                <a:gd name="connsiteX4" fmla="*/ 0 w 348472"/>
                <a:gd name="connsiteY4" fmla="*/ 310886 h 386610"/>
                <a:gd name="connsiteX5" fmla="*/ 47987 w 348472"/>
                <a:gd name="connsiteY5" fmla="*/ 386610 h 386610"/>
                <a:gd name="connsiteX6" fmla="*/ 44434 w 348472"/>
                <a:gd name="connsiteY6" fmla="*/ 355425 h 386610"/>
                <a:gd name="connsiteX7" fmla="*/ 56283 w 348472"/>
                <a:gd name="connsiteY7" fmla="*/ 255213 h 386610"/>
                <a:gd name="connsiteX8" fmla="*/ 183785 w 348472"/>
                <a:gd name="connsiteY8" fmla="*/ 75276 h 386610"/>
                <a:gd name="connsiteX9" fmla="*/ 264938 w 348472"/>
                <a:gd name="connsiteY9" fmla="*/ 105261 h 386610"/>
                <a:gd name="connsiteX10" fmla="*/ 289379 w 348472"/>
                <a:gd name="connsiteY10" fmla="*/ 113128 h 386610"/>
                <a:gd name="connsiteX11" fmla="*/ 348472 w 348472"/>
                <a:gd name="connsiteY11" fmla="*/ 53150 h 386610"/>
                <a:gd name="connsiteX12" fmla="*/ 328774 w 348472"/>
                <a:gd name="connsiteY12" fmla="*/ 17669 h 386610"/>
                <a:gd name="connsiteX13" fmla="*/ 302857 w 348472"/>
                <a:gd name="connsiteY13" fmla="*/ 0 h 386610"/>
                <a:gd name="connsiteX14" fmla="*/ 304038 w 348472"/>
                <a:gd name="connsiteY14" fmla="*/ 8611 h 386610"/>
                <a:gd name="connsiteX15" fmla="*/ 244954 w 348472"/>
                <a:gd name="connsiteY15" fmla="*/ 68590 h 38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472" h="386610">
                  <a:moveTo>
                    <a:pt x="244954" y="68590"/>
                  </a:moveTo>
                  <a:cubicBezTo>
                    <a:pt x="234001" y="68590"/>
                    <a:pt x="226886" y="65475"/>
                    <a:pt x="220513" y="60722"/>
                  </a:cubicBezTo>
                  <a:cubicBezTo>
                    <a:pt x="190605" y="36224"/>
                    <a:pt x="171650" y="30728"/>
                    <a:pt x="139360" y="30728"/>
                  </a:cubicBezTo>
                  <a:cubicBezTo>
                    <a:pt x="32290" y="30728"/>
                    <a:pt x="25918" y="136589"/>
                    <a:pt x="11849" y="210674"/>
                  </a:cubicBezTo>
                  <a:cubicBezTo>
                    <a:pt x="4001" y="250908"/>
                    <a:pt x="0" y="284169"/>
                    <a:pt x="0" y="310886"/>
                  </a:cubicBezTo>
                  <a:cubicBezTo>
                    <a:pt x="0" y="354235"/>
                    <a:pt x="14373" y="377990"/>
                    <a:pt x="47987" y="386610"/>
                  </a:cubicBezTo>
                  <a:cubicBezTo>
                    <a:pt x="45547" y="376398"/>
                    <a:pt x="44354" y="365926"/>
                    <a:pt x="44434" y="355425"/>
                  </a:cubicBezTo>
                  <a:cubicBezTo>
                    <a:pt x="44434" y="328555"/>
                    <a:pt x="48435" y="295446"/>
                    <a:pt x="56283" y="255213"/>
                  </a:cubicBezTo>
                  <a:cubicBezTo>
                    <a:pt x="70495" y="180985"/>
                    <a:pt x="76714" y="75276"/>
                    <a:pt x="183785" y="75276"/>
                  </a:cubicBezTo>
                  <a:cubicBezTo>
                    <a:pt x="216075" y="75276"/>
                    <a:pt x="235029" y="80762"/>
                    <a:pt x="264938" y="105261"/>
                  </a:cubicBezTo>
                  <a:cubicBezTo>
                    <a:pt x="271167" y="110014"/>
                    <a:pt x="278273" y="113128"/>
                    <a:pt x="289379" y="113128"/>
                  </a:cubicBezTo>
                  <a:cubicBezTo>
                    <a:pt x="320040" y="113128"/>
                    <a:pt x="348472" y="80762"/>
                    <a:pt x="348472" y="53150"/>
                  </a:cubicBezTo>
                  <a:cubicBezTo>
                    <a:pt x="348472" y="37414"/>
                    <a:pt x="339881" y="27908"/>
                    <a:pt x="328774" y="17669"/>
                  </a:cubicBezTo>
                  <a:cubicBezTo>
                    <a:pt x="321221" y="10839"/>
                    <a:pt x="312334" y="5048"/>
                    <a:pt x="302857" y="0"/>
                  </a:cubicBezTo>
                  <a:cubicBezTo>
                    <a:pt x="303447" y="2667"/>
                    <a:pt x="304038" y="5496"/>
                    <a:pt x="304038" y="8611"/>
                  </a:cubicBezTo>
                  <a:cubicBezTo>
                    <a:pt x="304038" y="36233"/>
                    <a:pt x="275749" y="68590"/>
                    <a:pt x="244954" y="68590"/>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2" name="Freeform: Shape 59">
              <a:extLst>
                <a:ext uri="{FF2B5EF4-FFF2-40B4-BE49-F238E27FC236}">
                  <a16:creationId xmlns:a16="http://schemas.microsoft.com/office/drawing/2014/main" id="{C69EE2F6-3C7D-5E83-5234-32AAADF872CC}"/>
                </a:ext>
              </a:extLst>
            </p:cNvPr>
            <p:cNvSpPr/>
            <p:nvPr/>
          </p:nvSpPr>
          <p:spPr>
            <a:xfrm>
              <a:off x="4033522" y="2011956"/>
              <a:ext cx="48615" cy="44538"/>
            </a:xfrm>
            <a:custGeom>
              <a:avLst/>
              <a:gdLst>
                <a:gd name="connsiteX0" fmla="*/ 48435 w 48615"/>
                <a:gd name="connsiteY0" fmla="*/ 7125 h 44538"/>
                <a:gd name="connsiteX1" fmla="*/ 42958 w 48615"/>
                <a:gd name="connsiteY1" fmla="*/ 0 h 44538"/>
                <a:gd name="connsiteX2" fmla="*/ 0 w 48615"/>
                <a:gd name="connsiteY2" fmla="*/ 0 h 44538"/>
                <a:gd name="connsiteX3" fmla="*/ 0 w 48615"/>
                <a:gd name="connsiteY3" fmla="*/ 1191 h 44538"/>
                <a:gd name="connsiteX4" fmla="*/ 41767 w 48615"/>
                <a:gd name="connsiteY4" fmla="*/ 44539 h 44538"/>
                <a:gd name="connsiteX5" fmla="*/ 42367 w 48615"/>
                <a:gd name="connsiteY5" fmla="*/ 44539 h 44538"/>
                <a:gd name="connsiteX6" fmla="*/ 43844 w 48615"/>
                <a:gd name="connsiteY6" fmla="*/ 37109 h 44538"/>
                <a:gd name="connsiteX7" fmla="*/ 48587 w 48615"/>
                <a:gd name="connsiteY7" fmla="*/ 7125 h 44538"/>
                <a:gd name="connsiteX8" fmla="*/ 48435 w 48615"/>
                <a:gd name="connsiteY8" fmla="*/ 7125 h 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15" h="44538">
                  <a:moveTo>
                    <a:pt x="48435" y="7125"/>
                  </a:moveTo>
                  <a:cubicBezTo>
                    <a:pt x="49178" y="1638"/>
                    <a:pt x="47692" y="0"/>
                    <a:pt x="42958" y="0"/>
                  </a:cubicBezTo>
                  <a:lnTo>
                    <a:pt x="0" y="0"/>
                  </a:lnTo>
                  <a:lnTo>
                    <a:pt x="0" y="1191"/>
                  </a:lnTo>
                  <a:cubicBezTo>
                    <a:pt x="0" y="24051"/>
                    <a:pt x="10963" y="44539"/>
                    <a:pt x="41767" y="44539"/>
                  </a:cubicBezTo>
                  <a:lnTo>
                    <a:pt x="42367" y="44539"/>
                  </a:lnTo>
                  <a:cubicBezTo>
                    <a:pt x="42958" y="42015"/>
                    <a:pt x="43396" y="39643"/>
                    <a:pt x="43844" y="37109"/>
                  </a:cubicBezTo>
                  <a:lnTo>
                    <a:pt x="48587" y="7125"/>
                  </a:lnTo>
                  <a:lnTo>
                    <a:pt x="48435" y="7125"/>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3" name="Freeform: Shape 60">
              <a:extLst>
                <a:ext uri="{FF2B5EF4-FFF2-40B4-BE49-F238E27FC236}">
                  <a16:creationId xmlns:a16="http://schemas.microsoft.com/office/drawing/2014/main" id="{D44C6A41-6E67-652C-3809-0E4CE7D2728D}"/>
                </a:ext>
              </a:extLst>
            </p:cNvPr>
            <p:cNvSpPr/>
            <p:nvPr/>
          </p:nvSpPr>
          <p:spPr>
            <a:xfrm>
              <a:off x="3843517" y="1783908"/>
              <a:ext cx="721966" cy="502262"/>
            </a:xfrm>
            <a:custGeom>
              <a:avLst/>
              <a:gdLst>
                <a:gd name="connsiteX0" fmla="*/ 359283 w 721966"/>
                <a:gd name="connsiteY0" fmla="*/ 173860 h 502262"/>
                <a:gd name="connsiteX1" fmla="*/ 349063 w 721966"/>
                <a:gd name="connsiteY1" fmla="*/ 173860 h 502262"/>
                <a:gd name="connsiteX2" fmla="*/ 334547 w 721966"/>
                <a:gd name="connsiteY2" fmla="*/ 265909 h 502262"/>
                <a:gd name="connsiteX3" fmla="*/ 106928 w 721966"/>
                <a:gd name="connsiteY3" fmla="*/ 457724 h 502262"/>
                <a:gd name="connsiteX4" fmla="*/ 0 w 721966"/>
                <a:gd name="connsiteY4" fmla="*/ 433969 h 502262"/>
                <a:gd name="connsiteX5" fmla="*/ 151352 w 721966"/>
                <a:gd name="connsiteY5" fmla="*/ 502263 h 502262"/>
                <a:gd name="connsiteX6" fmla="*/ 378981 w 721966"/>
                <a:gd name="connsiteY6" fmla="*/ 310448 h 502262"/>
                <a:gd name="connsiteX7" fmla="*/ 393935 w 721966"/>
                <a:gd name="connsiteY7" fmla="*/ 215722 h 502262"/>
                <a:gd name="connsiteX8" fmla="*/ 359283 w 721966"/>
                <a:gd name="connsiteY8" fmla="*/ 173860 h 502262"/>
                <a:gd name="connsiteX9" fmla="*/ 561575 w 721966"/>
                <a:gd name="connsiteY9" fmla="*/ 224485 h 502262"/>
                <a:gd name="connsiteX10" fmla="*/ 689086 w 721966"/>
                <a:gd name="connsiteY10" fmla="*/ 44548 h 502262"/>
                <a:gd name="connsiteX11" fmla="*/ 721966 w 721966"/>
                <a:gd name="connsiteY11" fmla="*/ 49292 h 502262"/>
                <a:gd name="connsiteX12" fmla="*/ 644662 w 721966"/>
                <a:gd name="connsiteY12" fmla="*/ 0 h 502262"/>
                <a:gd name="connsiteX13" fmla="*/ 517150 w 721966"/>
                <a:gd name="connsiteY13" fmla="*/ 179946 h 502262"/>
                <a:gd name="connsiteX14" fmla="*/ 505301 w 721966"/>
                <a:gd name="connsiteY14" fmla="*/ 280159 h 502262"/>
                <a:gd name="connsiteX15" fmla="*/ 553288 w 721966"/>
                <a:gd name="connsiteY15" fmla="*/ 355883 h 502262"/>
                <a:gd name="connsiteX16" fmla="*/ 549735 w 721966"/>
                <a:gd name="connsiteY16" fmla="*/ 324698 h 502262"/>
                <a:gd name="connsiteX17" fmla="*/ 561575 w 721966"/>
                <a:gd name="connsiteY17" fmla="*/ 224495 h 50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1966" h="502262">
                  <a:moveTo>
                    <a:pt x="359283" y="173860"/>
                  </a:moveTo>
                  <a:lnTo>
                    <a:pt x="349063" y="173860"/>
                  </a:lnTo>
                  <a:lnTo>
                    <a:pt x="334547" y="265909"/>
                  </a:lnTo>
                  <a:cubicBezTo>
                    <a:pt x="314849" y="390620"/>
                    <a:pt x="243173" y="457724"/>
                    <a:pt x="106928" y="457724"/>
                  </a:cubicBezTo>
                  <a:cubicBezTo>
                    <a:pt x="64275" y="457724"/>
                    <a:pt x="28146" y="450294"/>
                    <a:pt x="0" y="433969"/>
                  </a:cubicBezTo>
                  <a:cubicBezTo>
                    <a:pt x="27546" y="482222"/>
                    <a:pt x="80715" y="502263"/>
                    <a:pt x="151352" y="502263"/>
                  </a:cubicBezTo>
                  <a:cubicBezTo>
                    <a:pt x="287607" y="502263"/>
                    <a:pt x="359283" y="435159"/>
                    <a:pt x="378981" y="310448"/>
                  </a:cubicBezTo>
                  <a:lnTo>
                    <a:pt x="393935" y="215722"/>
                  </a:lnTo>
                  <a:cubicBezTo>
                    <a:pt x="398678" y="185738"/>
                    <a:pt x="382086" y="173860"/>
                    <a:pt x="359283" y="173860"/>
                  </a:cubicBezTo>
                  <a:close/>
                  <a:moveTo>
                    <a:pt x="561575" y="224485"/>
                  </a:moveTo>
                  <a:cubicBezTo>
                    <a:pt x="575796" y="150257"/>
                    <a:pt x="582016" y="44548"/>
                    <a:pt x="689086" y="44548"/>
                  </a:cubicBezTo>
                  <a:cubicBezTo>
                    <a:pt x="701373" y="44548"/>
                    <a:pt x="712337" y="46177"/>
                    <a:pt x="721966" y="49292"/>
                  </a:cubicBezTo>
                  <a:cubicBezTo>
                    <a:pt x="712041" y="17383"/>
                    <a:pt x="685533" y="0"/>
                    <a:pt x="644662" y="0"/>
                  </a:cubicBezTo>
                  <a:cubicBezTo>
                    <a:pt x="537591" y="0"/>
                    <a:pt x="531219" y="105861"/>
                    <a:pt x="517150" y="179946"/>
                  </a:cubicBezTo>
                  <a:cubicBezTo>
                    <a:pt x="509302" y="220180"/>
                    <a:pt x="505301" y="253441"/>
                    <a:pt x="505301" y="280159"/>
                  </a:cubicBezTo>
                  <a:cubicBezTo>
                    <a:pt x="505301" y="323517"/>
                    <a:pt x="519665" y="347262"/>
                    <a:pt x="553288" y="355883"/>
                  </a:cubicBezTo>
                  <a:cubicBezTo>
                    <a:pt x="550848" y="345670"/>
                    <a:pt x="549655" y="335198"/>
                    <a:pt x="549735" y="324698"/>
                  </a:cubicBezTo>
                  <a:cubicBezTo>
                    <a:pt x="549735" y="297828"/>
                    <a:pt x="553736" y="264719"/>
                    <a:pt x="561575" y="224495"/>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4" name="Freeform: Shape 61">
              <a:extLst>
                <a:ext uri="{FF2B5EF4-FFF2-40B4-BE49-F238E27FC236}">
                  <a16:creationId xmlns:a16="http://schemas.microsoft.com/office/drawing/2014/main" id="{F0863EF1-9879-E5DB-64AB-D45E09983EB8}"/>
                </a:ext>
              </a:extLst>
            </p:cNvPr>
            <p:cNvSpPr/>
            <p:nvPr/>
          </p:nvSpPr>
          <p:spPr>
            <a:xfrm>
              <a:off x="4308833" y="1754066"/>
              <a:ext cx="411260" cy="532257"/>
            </a:xfrm>
            <a:custGeom>
              <a:avLst/>
              <a:gdLst>
                <a:gd name="connsiteX0" fmla="*/ 345357 w 411260"/>
                <a:gd name="connsiteY0" fmla="*/ 0 h 532257"/>
                <a:gd name="connsiteX1" fmla="*/ 366836 w 411260"/>
                <a:gd name="connsiteY1" fmla="*/ 95317 h 532257"/>
                <a:gd name="connsiteX2" fmla="*/ 356616 w 411260"/>
                <a:gd name="connsiteY2" fmla="*/ 209788 h 532257"/>
                <a:gd name="connsiteX3" fmla="*/ 106928 w 411260"/>
                <a:gd name="connsiteY3" fmla="*/ 487718 h 532257"/>
                <a:gd name="connsiteX4" fmla="*/ 0 w 411260"/>
                <a:gd name="connsiteY4" fmla="*/ 463963 h 532257"/>
                <a:gd name="connsiteX5" fmla="*/ 151352 w 411260"/>
                <a:gd name="connsiteY5" fmla="*/ 532257 h 532257"/>
                <a:gd name="connsiteX6" fmla="*/ 401041 w 411260"/>
                <a:gd name="connsiteY6" fmla="*/ 254327 h 532257"/>
                <a:gd name="connsiteX7" fmla="*/ 411261 w 411260"/>
                <a:gd name="connsiteY7" fmla="*/ 139856 h 532257"/>
                <a:gd name="connsiteX8" fmla="*/ 345357 w 411260"/>
                <a:gd name="connsiteY8" fmla="*/ 0 h 53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260" h="532257">
                  <a:moveTo>
                    <a:pt x="345357" y="0"/>
                  </a:moveTo>
                  <a:cubicBezTo>
                    <a:pt x="359283" y="24355"/>
                    <a:pt x="366836" y="55683"/>
                    <a:pt x="366836" y="95317"/>
                  </a:cubicBezTo>
                  <a:cubicBezTo>
                    <a:pt x="366836" y="127683"/>
                    <a:pt x="362836" y="166430"/>
                    <a:pt x="356616" y="209788"/>
                  </a:cubicBezTo>
                  <a:cubicBezTo>
                    <a:pt x="330698" y="378743"/>
                    <a:pt x="298418" y="487718"/>
                    <a:pt x="106928" y="487718"/>
                  </a:cubicBezTo>
                  <a:cubicBezTo>
                    <a:pt x="64275" y="487718"/>
                    <a:pt x="28137" y="480289"/>
                    <a:pt x="0" y="463963"/>
                  </a:cubicBezTo>
                  <a:cubicBezTo>
                    <a:pt x="27546" y="512216"/>
                    <a:pt x="80715" y="532257"/>
                    <a:pt x="151352" y="532257"/>
                  </a:cubicBezTo>
                  <a:cubicBezTo>
                    <a:pt x="342690" y="532257"/>
                    <a:pt x="374980" y="423291"/>
                    <a:pt x="401041" y="254327"/>
                  </a:cubicBezTo>
                  <a:cubicBezTo>
                    <a:pt x="407413" y="210979"/>
                    <a:pt x="411261" y="172222"/>
                    <a:pt x="411261" y="139856"/>
                  </a:cubicBezTo>
                  <a:cubicBezTo>
                    <a:pt x="411261" y="69342"/>
                    <a:pt x="387563" y="24651"/>
                    <a:pt x="345357" y="0"/>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5" name="Freeform: Shape 62">
              <a:extLst>
                <a:ext uri="{FF2B5EF4-FFF2-40B4-BE49-F238E27FC236}">
                  <a16:creationId xmlns:a16="http://schemas.microsoft.com/office/drawing/2014/main" id="{FD40A070-C1BE-BD9B-051A-5882D20CA896}"/>
                </a:ext>
              </a:extLst>
            </p:cNvPr>
            <p:cNvSpPr/>
            <p:nvPr/>
          </p:nvSpPr>
          <p:spPr>
            <a:xfrm>
              <a:off x="3777919" y="1686077"/>
              <a:ext cx="408289" cy="532095"/>
            </a:xfrm>
            <a:custGeom>
              <a:avLst/>
              <a:gdLst>
                <a:gd name="connsiteX0" fmla="*/ 55531 w 408289"/>
                <a:gd name="connsiteY0" fmla="*/ 322317 h 532095"/>
                <a:gd name="connsiteX1" fmla="*/ 305067 w 408289"/>
                <a:gd name="connsiteY1" fmla="*/ 44387 h 532095"/>
                <a:gd name="connsiteX2" fmla="*/ 408289 w 408289"/>
                <a:gd name="connsiteY2" fmla="*/ 67104 h 532095"/>
                <a:gd name="connsiteX3" fmla="*/ 389782 w 408289"/>
                <a:gd name="connsiteY3" fmla="*/ 40234 h 532095"/>
                <a:gd name="connsiteX4" fmla="*/ 260642 w 408289"/>
                <a:gd name="connsiteY4" fmla="*/ 0 h 532095"/>
                <a:gd name="connsiteX5" fmla="*/ 11106 w 408289"/>
                <a:gd name="connsiteY5" fmla="*/ 277778 h 532095"/>
                <a:gd name="connsiteX6" fmla="*/ 0 w 408289"/>
                <a:gd name="connsiteY6" fmla="*/ 393878 h 532095"/>
                <a:gd name="connsiteX7" fmla="*/ 65599 w 408289"/>
                <a:gd name="connsiteY7" fmla="*/ 532095 h 532095"/>
                <a:gd name="connsiteX8" fmla="*/ 44425 w 408289"/>
                <a:gd name="connsiteY8" fmla="*/ 438417 h 532095"/>
                <a:gd name="connsiteX9" fmla="*/ 55531 w 408289"/>
                <a:gd name="connsiteY9" fmla="*/ 322317 h 53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89" h="532095">
                  <a:moveTo>
                    <a:pt x="55531" y="322317"/>
                  </a:moveTo>
                  <a:cubicBezTo>
                    <a:pt x="80705" y="161230"/>
                    <a:pt x="115357" y="44387"/>
                    <a:pt x="305067" y="44387"/>
                  </a:cubicBezTo>
                  <a:cubicBezTo>
                    <a:pt x="338242" y="44387"/>
                    <a:pt x="377190" y="50921"/>
                    <a:pt x="408289" y="67104"/>
                  </a:cubicBezTo>
                  <a:cubicBezTo>
                    <a:pt x="405775" y="56264"/>
                    <a:pt x="398669" y="48397"/>
                    <a:pt x="389782" y="40234"/>
                  </a:cubicBezTo>
                  <a:cubicBezTo>
                    <a:pt x="357492" y="10982"/>
                    <a:pt x="303886" y="0"/>
                    <a:pt x="260642" y="0"/>
                  </a:cubicBezTo>
                  <a:cubicBezTo>
                    <a:pt x="70933" y="-152"/>
                    <a:pt x="36281" y="116691"/>
                    <a:pt x="11106" y="277778"/>
                  </a:cubicBezTo>
                  <a:cubicBezTo>
                    <a:pt x="3991" y="322021"/>
                    <a:pt x="0" y="360626"/>
                    <a:pt x="0" y="393878"/>
                  </a:cubicBezTo>
                  <a:cubicBezTo>
                    <a:pt x="0" y="464106"/>
                    <a:pt x="23984" y="507892"/>
                    <a:pt x="65599" y="532095"/>
                  </a:cubicBezTo>
                  <a:cubicBezTo>
                    <a:pt x="51978" y="508197"/>
                    <a:pt x="44425" y="477469"/>
                    <a:pt x="44425" y="438417"/>
                  </a:cubicBezTo>
                  <a:cubicBezTo>
                    <a:pt x="44425" y="405308"/>
                    <a:pt x="48425" y="366560"/>
                    <a:pt x="55531" y="322317"/>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6" name="Freeform: Shape 63">
              <a:extLst>
                <a:ext uri="{FF2B5EF4-FFF2-40B4-BE49-F238E27FC236}">
                  <a16:creationId xmlns:a16="http://schemas.microsoft.com/office/drawing/2014/main" id="{4BDAE176-6A97-DDF8-BBBE-46B3638F79D5}"/>
                </a:ext>
              </a:extLst>
            </p:cNvPr>
            <p:cNvSpPr/>
            <p:nvPr/>
          </p:nvSpPr>
          <p:spPr>
            <a:xfrm>
              <a:off x="3931490" y="1913229"/>
              <a:ext cx="262347" cy="275101"/>
            </a:xfrm>
            <a:custGeom>
              <a:avLst/>
              <a:gdLst>
                <a:gd name="connsiteX0" fmla="*/ 157124 w 262347"/>
                <a:gd name="connsiteY0" fmla="*/ 44539 h 275101"/>
                <a:gd name="connsiteX1" fmla="*/ 261090 w 262347"/>
                <a:gd name="connsiteY1" fmla="*/ 44539 h 275101"/>
                <a:gd name="connsiteX2" fmla="*/ 261537 w 262347"/>
                <a:gd name="connsiteY2" fmla="*/ 41872 h 275101"/>
                <a:gd name="connsiteX3" fmla="*/ 226876 w 262347"/>
                <a:gd name="connsiteY3" fmla="*/ 0 h 275101"/>
                <a:gd name="connsiteX4" fmla="*/ 112700 w 262347"/>
                <a:gd name="connsiteY4" fmla="*/ 0 h 275101"/>
                <a:gd name="connsiteX5" fmla="*/ 57607 w 262347"/>
                <a:gd name="connsiteY5" fmla="*/ 55226 h 275101"/>
                <a:gd name="connsiteX6" fmla="*/ 99374 w 262347"/>
                <a:gd name="connsiteY6" fmla="*/ 98584 h 275101"/>
                <a:gd name="connsiteX7" fmla="*/ 102184 w 262347"/>
                <a:gd name="connsiteY7" fmla="*/ 98584 h 275101"/>
                <a:gd name="connsiteX8" fmla="*/ 157277 w 262347"/>
                <a:gd name="connsiteY8" fmla="*/ 44387 h 275101"/>
                <a:gd name="connsiteX9" fmla="*/ 157124 w 262347"/>
                <a:gd name="connsiteY9" fmla="*/ 44539 h 275101"/>
                <a:gd name="connsiteX10" fmla="*/ 79077 w 262347"/>
                <a:gd name="connsiteY10" fmla="*/ 275101 h 275101"/>
                <a:gd name="connsiteX11" fmla="*/ 190148 w 262347"/>
                <a:gd name="connsiteY11" fmla="*/ 180384 h 275101"/>
                <a:gd name="connsiteX12" fmla="*/ 194891 w 262347"/>
                <a:gd name="connsiteY12" fmla="*/ 150390 h 275101"/>
                <a:gd name="connsiteX13" fmla="*/ 189414 w 262347"/>
                <a:gd name="connsiteY13" fmla="*/ 143266 h 275101"/>
                <a:gd name="connsiteX14" fmla="*/ 144247 w 262347"/>
                <a:gd name="connsiteY14" fmla="*/ 143266 h 275101"/>
                <a:gd name="connsiteX15" fmla="*/ 34652 w 262347"/>
                <a:gd name="connsiteY15" fmla="*/ 230562 h 275101"/>
                <a:gd name="connsiteX16" fmla="*/ 0 w 262347"/>
                <a:gd name="connsiteY16" fmla="*/ 226562 h 275101"/>
                <a:gd name="connsiteX17" fmla="*/ 79077 w 262347"/>
                <a:gd name="connsiteY17" fmla="*/ 275101 h 275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2347" h="275101">
                  <a:moveTo>
                    <a:pt x="157124" y="44539"/>
                  </a:moveTo>
                  <a:lnTo>
                    <a:pt x="261090" y="44539"/>
                  </a:lnTo>
                  <a:lnTo>
                    <a:pt x="261537" y="41872"/>
                  </a:lnTo>
                  <a:cubicBezTo>
                    <a:pt x="266271" y="11868"/>
                    <a:pt x="249688" y="0"/>
                    <a:pt x="226876" y="0"/>
                  </a:cubicBezTo>
                  <a:lnTo>
                    <a:pt x="112700" y="0"/>
                  </a:lnTo>
                  <a:cubicBezTo>
                    <a:pt x="76410" y="0"/>
                    <a:pt x="57607" y="25975"/>
                    <a:pt x="57607" y="55226"/>
                  </a:cubicBezTo>
                  <a:cubicBezTo>
                    <a:pt x="57607" y="78086"/>
                    <a:pt x="68561" y="98584"/>
                    <a:pt x="99374" y="98584"/>
                  </a:cubicBezTo>
                  <a:lnTo>
                    <a:pt x="102184" y="98584"/>
                  </a:lnTo>
                  <a:cubicBezTo>
                    <a:pt x="102632" y="69780"/>
                    <a:pt x="121434" y="44387"/>
                    <a:pt x="157277" y="44387"/>
                  </a:cubicBezTo>
                  <a:lnTo>
                    <a:pt x="157124" y="44539"/>
                  </a:lnTo>
                  <a:close/>
                  <a:moveTo>
                    <a:pt x="79077" y="275101"/>
                  </a:moveTo>
                  <a:cubicBezTo>
                    <a:pt x="140541" y="275101"/>
                    <a:pt x="180670" y="238735"/>
                    <a:pt x="190148" y="180384"/>
                  </a:cubicBezTo>
                  <a:lnTo>
                    <a:pt x="194891" y="150390"/>
                  </a:lnTo>
                  <a:cubicBezTo>
                    <a:pt x="195634" y="144904"/>
                    <a:pt x="194148" y="143266"/>
                    <a:pt x="189414" y="143266"/>
                  </a:cubicBezTo>
                  <a:lnTo>
                    <a:pt x="144247" y="143266"/>
                  </a:lnTo>
                  <a:cubicBezTo>
                    <a:pt x="132693" y="197310"/>
                    <a:pt x="93450" y="230562"/>
                    <a:pt x="34652" y="230562"/>
                  </a:cubicBezTo>
                  <a:cubicBezTo>
                    <a:pt x="21174" y="230562"/>
                    <a:pt x="9925" y="229229"/>
                    <a:pt x="0" y="226562"/>
                  </a:cubicBezTo>
                  <a:cubicBezTo>
                    <a:pt x="8287" y="260109"/>
                    <a:pt x="32576" y="275101"/>
                    <a:pt x="79077" y="275101"/>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7" name="Freeform: Shape 64">
              <a:extLst>
                <a:ext uri="{FF2B5EF4-FFF2-40B4-BE49-F238E27FC236}">
                  <a16:creationId xmlns:a16="http://schemas.microsoft.com/office/drawing/2014/main" id="{28F07A6C-EE11-F900-6EE8-C91493A727C2}"/>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8" name="Freeform: Shape 65">
              <a:extLst>
                <a:ext uri="{FF2B5EF4-FFF2-40B4-BE49-F238E27FC236}">
                  <a16:creationId xmlns:a16="http://schemas.microsoft.com/office/drawing/2014/main" id="{0D1B8107-903A-D620-234E-F0D46F2A058B}"/>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FFFFFF"/>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9" name="Freeform: Shape 66">
              <a:extLst>
                <a:ext uri="{FF2B5EF4-FFF2-40B4-BE49-F238E27FC236}">
                  <a16:creationId xmlns:a16="http://schemas.microsoft.com/office/drawing/2014/main" id="{A798E733-A903-0808-42CC-D2F1CEEE8F29}"/>
                </a:ext>
              </a:extLst>
            </p:cNvPr>
            <p:cNvSpPr/>
            <p:nvPr/>
          </p:nvSpPr>
          <p:spPr>
            <a:xfrm>
              <a:off x="4243377" y="1685925"/>
              <a:ext cx="410813" cy="532247"/>
            </a:xfrm>
            <a:custGeom>
              <a:avLst/>
              <a:gdLst>
                <a:gd name="connsiteX0" fmla="*/ 55540 w 410813"/>
                <a:gd name="connsiteY0" fmla="*/ 322469 h 532247"/>
                <a:gd name="connsiteX1" fmla="*/ 304333 w 410813"/>
                <a:gd name="connsiteY1" fmla="*/ 44539 h 532247"/>
                <a:gd name="connsiteX2" fmla="*/ 410813 w 410813"/>
                <a:gd name="connsiteY2" fmla="*/ 68142 h 532247"/>
                <a:gd name="connsiteX3" fmla="*/ 259909 w 410813"/>
                <a:gd name="connsiteY3" fmla="*/ 0 h 532247"/>
                <a:gd name="connsiteX4" fmla="*/ 11116 w 410813"/>
                <a:gd name="connsiteY4" fmla="*/ 277930 h 532247"/>
                <a:gd name="connsiteX5" fmla="*/ 0 w 410813"/>
                <a:gd name="connsiteY5" fmla="*/ 394030 h 532247"/>
                <a:gd name="connsiteX6" fmla="*/ 65608 w 410813"/>
                <a:gd name="connsiteY6" fmla="*/ 532248 h 532247"/>
                <a:gd name="connsiteX7" fmla="*/ 44425 w 410813"/>
                <a:gd name="connsiteY7" fmla="*/ 438569 h 532247"/>
                <a:gd name="connsiteX8" fmla="*/ 55540 w 410813"/>
                <a:gd name="connsiteY8" fmla="*/ 322469 h 5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813" h="532247">
                  <a:moveTo>
                    <a:pt x="55540" y="322469"/>
                  </a:moveTo>
                  <a:cubicBezTo>
                    <a:pt x="80715" y="161382"/>
                    <a:pt x="115357" y="44539"/>
                    <a:pt x="304333" y="44539"/>
                  </a:cubicBezTo>
                  <a:cubicBezTo>
                    <a:pt x="347129" y="44539"/>
                    <a:pt x="382972" y="51968"/>
                    <a:pt x="410813" y="68142"/>
                  </a:cubicBezTo>
                  <a:cubicBezTo>
                    <a:pt x="383572" y="20488"/>
                    <a:pt x="331280" y="0"/>
                    <a:pt x="259909" y="0"/>
                  </a:cubicBezTo>
                  <a:cubicBezTo>
                    <a:pt x="70933" y="0"/>
                    <a:pt x="36281" y="116843"/>
                    <a:pt x="11116" y="277930"/>
                  </a:cubicBezTo>
                  <a:cubicBezTo>
                    <a:pt x="4000" y="322174"/>
                    <a:pt x="0" y="360778"/>
                    <a:pt x="0" y="394030"/>
                  </a:cubicBezTo>
                  <a:cubicBezTo>
                    <a:pt x="0" y="464258"/>
                    <a:pt x="23993" y="508044"/>
                    <a:pt x="65608" y="532248"/>
                  </a:cubicBezTo>
                  <a:cubicBezTo>
                    <a:pt x="51987" y="508349"/>
                    <a:pt x="44425" y="477622"/>
                    <a:pt x="44425" y="438569"/>
                  </a:cubicBezTo>
                  <a:cubicBezTo>
                    <a:pt x="44425" y="405460"/>
                    <a:pt x="48425" y="366713"/>
                    <a:pt x="55540" y="322469"/>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0" name="Freeform: Shape 67">
              <a:extLst>
                <a:ext uri="{FF2B5EF4-FFF2-40B4-BE49-F238E27FC236}">
                  <a16:creationId xmlns:a16="http://schemas.microsoft.com/office/drawing/2014/main" id="{E6224A80-C1C7-C195-6B51-4EC0FDFB4D94}"/>
                </a:ext>
              </a:extLst>
            </p:cNvPr>
            <p:cNvSpPr/>
            <p:nvPr/>
          </p:nvSpPr>
          <p:spPr>
            <a:xfrm>
              <a:off x="4396949" y="1833200"/>
              <a:ext cx="217550" cy="355130"/>
            </a:xfrm>
            <a:custGeom>
              <a:avLst/>
              <a:gdLst>
                <a:gd name="connsiteX0" fmla="*/ 79086 w 217550"/>
                <a:gd name="connsiteY0" fmla="*/ 355130 h 355130"/>
                <a:gd name="connsiteX1" fmla="*/ 206597 w 217550"/>
                <a:gd name="connsiteY1" fmla="*/ 175203 h 355130"/>
                <a:gd name="connsiteX2" fmla="*/ 217551 w 217550"/>
                <a:gd name="connsiteY2" fmla="*/ 75724 h 355130"/>
                <a:gd name="connsiteX3" fmla="*/ 168535 w 217550"/>
                <a:gd name="connsiteY3" fmla="*/ 0 h 355130"/>
                <a:gd name="connsiteX4" fmla="*/ 173126 w 217550"/>
                <a:gd name="connsiteY4" fmla="*/ 31185 h 355130"/>
                <a:gd name="connsiteX5" fmla="*/ 162173 w 217550"/>
                <a:gd name="connsiteY5" fmla="*/ 130654 h 355130"/>
                <a:gd name="connsiteX6" fmla="*/ 34661 w 217550"/>
                <a:gd name="connsiteY6" fmla="*/ 310591 h 355130"/>
                <a:gd name="connsiteX7" fmla="*/ 0 w 217550"/>
                <a:gd name="connsiteY7" fmla="*/ 306591 h 355130"/>
                <a:gd name="connsiteX8" fmla="*/ 79086 w 217550"/>
                <a:gd name="connsiteY8" fmla="*/ 355130 h 35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550" h="355130">
                  <a:moveTo>
                    <a:pt x="79086" y="355130"/>
                  </a:moveTo>
                  <a:cubicBezTo>
                    <a:pt x="177575" y="355130"/>
                    <a:pt x="191643" y="278530"/>
                    <a:pt x="206597" y="175203"/>
                  </a:cubicBezTo>
                  <a:cubicBezTo>
                    <a:pt x="212074" y="135703"/>
                    <a:pt x="217551" y="102594"/>
                    <a:pt x="217551" y="75724"/>
                  </a:cubicBezTo>
                  <a:cubicBezTo>
                    <a:pt x="217551" y="35785"/>
                    <a:pt x="200377" y="9954"/>
                    <a:pt x="168535" y="0"/>
                  </a:cubicBezTo>
                  <a:cubicBezTo>
                    <a:pt x="171345" y="9211"/>
                    <a:pt x="173126" y="19602"/>
                    <a:pt x="173126" y="31185"/>
                  </a:cubicBezTo>
                  <a:cubicBezTo>
                    <a:pt x="173126" y="58045"/>
                    <a:pt x="167650" y="91164"/>
                    <a:pt x="162173" y="130654"/>
                  </a:cubicBezTo>
                  <a:cubicBezTo>
                    <a:pt x="147218" y="234134"/>
                    <a:pt x="132998" y="310591"/>
                    <a:pt x="34661" y="310591"/>
                  </a:cubicBezTo>
                  <a:cubicBezTo>
                    <a:pt x="21184" y="310591"/>
                    <a:pt x="9925" y="309258"/>
                    <a:pt x="0" y="306591"/>
                  </a:cubicBezTo>
                  <a:cubicBezTo>
                    <a:pt x="8296" y="340138"/>
                    <a:pt x="32575" y="355130"/>
                    <a:pt x="79086" y="355130"/>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1" name="Freeform: Shape 68">
              <a:extLst>
                <a:ext uri="{FF2B5EF4-FFF2-40B4-BE49-F238E27FC236}">
                  <a16:creationId xmlns:a16="http://schemas.microsoft.com/office/drawing/2014/main" id="{FA84BE61-A355-FBB4-67D0-69F8A03EE0ED}"/>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2" name="Freeform: Shape 69">
              <a:extLst>
                <a:ext uri="{FF2B5EF4-FFF2-40B4-BE49-F238E27FC236}">
                  <a16:creationId xmlns:a16="http://schemas.microsoft.com/office/drawing/2014/main" id="{0A9A1712-9237-BD97-812C-40DB2C858BAE}"/>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FFFFFF"/>
            </a:solidFill>
            <a:ln w="9525" cap="flat">
              <a:noFill/>
              <a:prstDash val="solid"/>
              <a:miter/>
            </a:ln>
          </p:spPr>
          <p:txBody>
            <a:bodyPr rtlCol="0" anchor="ctr"/>
            <a:lstStyle/>
            <a:p>
              <a:pPr defTabSz="408094"/>
              <a:endParaRPr lang="en-GB" sz="1800">
                <a:solidFill>
                  <a:srgbClr val="FFFFFF"/>
                </a:solidFill>
                <a:latin typeface="Proximus"/>
              </a:endParaRPr>
            </a:p>
          </p:txBody>
        </p:sp>
      </p:grpSp>
      <p:sp>
        <p:nvSpPr>
          <p:cNvPr id="70" name="Round Single Corner of Rectangle 69">
            <a:extLst>
              <a:ext uri="{FF2B5EF4-FFF2-40B4-BE49-F238E27FC236}">
                <a16:creationId xmlns:a16="http://schemas.microsoft.com/office/drawing/2014/main" id="{43D88904-197B-1592-0342-9D8D31811902}"/>
              </a:ext>
            </a:extLst>
          </p:cNvPr>
          <p:cNvSpPr/>
          <p:nvPr/>
        </p:nvSpPr>
        <p:spPr>
          <a:xfrm>
            <a:off x="6865538" y="1429909"/>
            <a:ext cx="1814175" cy="900000"/>
          </a:xfrm>
          <a:prstGeom prst="round1Rect">
            <a:avLst>
              <a:gd name="adj" fmla="val 17327"/>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71" name="!!px_logo">
            <a:extLst>
              <a:ext uri="{FF2B5EF4-FFF2-40B4-BE49-F238E27FC236}">
                <a16:creationId xmlns:a16="http://schemas.microsoft.com/office/drawing/2014/main" id="{CE7DB548-3BA7-A4E2-73FB-AE55EF3BD14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5763" y="1616257"/>
            <a:ext cx="649224" cy="527304"/>
          </a:xfrm>
          <a:prstGeom prst="rect">
            <a:avLst/>
          </a:prstGeom>
        </p:spPr>
      </p:pic>
      <p:pic>
        <p:nvPicPr>
          <p:cNvPr id="72" name="Picture 71">
            <a:extLst>
              <a:ext uri="{FF2B5EF4-FFF2-40B4-BE49-F238E27FC236}">
                <a16:creationId xmlns:a16="http://schemas.microsoft.com/office/drawing/2014/main" id="{8F9AD54A-315B-B8A9-A163-26D8BEECC755}"/>
              </a:ext>
            </a:extLst>
          </p:cNvPr>
          <p:cNvPicPr>
            <a:picLocks noChangeAspect="1"/>
          </p:cNvPicPr>
          <p:nvPr/>
        </p:nvPicPr>
        <p:blipFill rotWithShape="1">
          <a:blip r:embed="rId9">
            <a:clrChange>
              <a:clrFrom>
                <a:srgbClr val="FFFFFF"/>
              </a:clrFrom>
              <a:clrTo>
                <a:srgbClr val="FFFFFF">
                  <a:alpha val="0"/>
                </a:srgbClr>
              </a:clrTo>
            </a:clrChange>
          </a:blip>
          <a:srcRect t="24343" b="26293"/>
          <a:stretch/>
        </p:blipFill>
        <p:spPr>
          <a:xfrm>
            <a:off x="2373800" y="1640833"/>
            <a:ext cx="739626" cy="365106"/>
          </a:xfrm>
          <a:prstGeom prst="rect">
            <a:avLst/>
          </a:prstGeom>
        </p:spPr>
      </p:pic>
      <p:sp>
        <p:nvSpPr>
          <p:cNvPr id="76" name="TextBox 75">
            <a:extLst>
              <a:ext uri="{FF2B5EF4-FFF2-40B4-BE49-F238E27FC236}">
                <a16:creationId xmlns:a16="http://schemas.microsoft.com/office/drawing/2014/main" id="{FC9BC985-B5D2-16B2-D9AD-94EA19C63213}"/>
              </a:ext>
            </a:extLst>
          </p:cNvPr>
          <p:cNvSpPr txBox="1"/>
          <p:nvPr/>
        </p:nvSpPr>
        <p:spPr>
          <a:xfrm>
            <a:off x="2309554" y="2434007"/>
            <a:ext cx="868346" cy="307777"/>
          </a:xfrm>
          <a:prstGeom prst="rect">
            <a:avLst/>
          </a:prstGeom>
          <a:noFill/>
        </p:spPr>
        <p:txBody>
          <a:bodyPr wrap="square" lIns="0" tIns="0" rIns="0" bIns="0" anchor="ctr">
            <a:noAutofit/>
          </a:bodyPr>
          <a:lstStyle/>
          <a:p>
            <a:r>
              <a:t>Texte :</a:t>
            </a:r>
          </a:p>
          <a:p>
            <a:r>
              <a:t>FTTH</a:t>
            </a:r>
          </a:p>
        </p:txBody>
      </p:sp>
      <p:pic>
        <p:nvPicPr>
          <p:cNvPr id="78" name="!!px_logo">
            <a:extLst>
              <a:ext uri="{FF2B5EF4-FFF2-40B4-BE49-F238E27FC236}">
                <a16:creationId xmlns:a16="http://schemas.microsoft.com/office/drawing/2014/main" id="{B5F6ED11-8997-8D44-BD96-D17C5B14F1A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2496" y="1616257"/>
            <a:ext cx="649224" cy="527304"/>
          </a:xfrm>
          <a:prstGeom prst="rect">
            <a:avLst/>
          </a:prstGeom>
        </p:spPr>
      </p:pic>
      <p:sp>
        <p:nvSpPr>
          <p:cNvPr id="83" name="TextBox 82">
            <a:extLst>
              <a:ext uri="{FF2B5EF4-FFF2-40B4-BE49-F238E27FC236}">
                <a16:creationId xmlns:a16="http://schemas.microsoft.com/office/drawing/2014/main" id="{63221E38-4751-9DB4-5710-FD7D9C02B1EF}"/>
              </a:ext>
            </a:extLst>
          </p:cNvPr>
          <p:cNvSpPr txBox="1"/>
          <p:nvPr/>
        </p:nvSpPr>
        <p:spPr>
          <a:xfrm>
            <a:off x="5497083" y="2434007"/>
            <a:ext cx="868346" cy="307777"/>
          </a:xfrm>
          <a:prstGeom prst="rect">
            <a:avLst/>
          </a:prstGeom>
          <a:noFill/>
        </p:spPr>
        <p:txBody>
          <a:bodyPr wrap="square" lIns="0" tIns="0" rIns="0" bIns="0" anchor="ctr">
            <a:noAutofit/>
          </a:bodyPr>
          <a:lstStyle/>
          <a:p>
            <a:r>
              <a:t>Texte:</a:t>
            </a:r>
          </a:p>
          <a:p>
            <a:r>
              <a:t>HFC</a:t>
            </a:r>
          </a:p>
        </p:txBody>
      </p:sp>
      <p:sp>
        <p:nvSpPr>
          <p:cNvPr id="84" name="TextBox 83">
            <a:extLst>
              <a:ext uri="{FF2B5EF4-FFF2-40B4-BE49-F238E27FC236}">
                <a16:creationId xmlns:a16="http://schemas.microsoft.com/office/drawing/2014/main" id="{6901F3BB-48EE-A2BF-1C2F-88A439668ABC}"/>
              </a:ext>
            </a:extLst>
          </p:cNvPr>
          <p:cNvSpPr txBox="1"/>
          <p:nvPr/>
        </p:nvSpPr>
        <p:spPr>
          <a:xfrm>
            <a:off x="6878020" y="2434007"/>
            <a:ext cx="868346" cy="307777"/>
          </a:xfrm>
          <a:prstGeom prst="rect">
            <a:avLst/>
          </a:prstGeom>
          <a:noFill/>
        </p:spPr>
        <p:txBody>
          <a:bodyPr wrap="square" lIns="0" tIns="0" rIns="0" bIns="0" anchor="ctr">
            <a:noAutofit/>
          </a:bodyPr>
          <a:lstStyle/>
          <a:p>
            <a:r>
              <a:t>Texte:</a:t>
            </a:r>
          </a:p>
          <a:p>
            <a:r>
              <a:t>xDSL</a:t>
            </a:r>
          </a:p>
        </p:txBody>
      </p:sp>
      <p:sp>
        <p:nvSpPr>
          <p:cNvPr id="85" name="TextBox 84">
            <a:extLst>
              <a:ext uri="{FF2B5EF4-FFF2-40B4-BE49-F238E27FC236}">
                <a16:creationId xmlns:a16="http://schemas.microsoft.com/office/drawing/2014/main" id="{9624AC88-42E4-2459-4E9E-E7BBA9733E38}"/>
              </a:ext>
            </a:extLst>
          </p:cNvPr>
          <p:cNvSpPr txBox="1"/>
          <p:nvPr/>
        </p:nvSpPr>
        <p:spPr>
          <a:xfrm>
            <a:off x="7805434" y="2434007"/>
            <a:ext cx="868346" cy="307777"/>
          </a:xfrm>
          <a:prstGeom prst="rect">
            <a:avLst/>
          </a:prstGeom>
          <a:noFill/>
        </p:spPr>
        <p:txBody>
          <a:bodyPr wrap="square" lIns="0" tIns="0" rIns="0" bIns="0" anchor="ctr">
            <a:noAutofit/>
          </a:bodyPr>
          <a:lstStyle/>
          <a:p>
            <a:r>
              <a:t>Texte:</a:t>
            </a:r>
          </a:p>
          <a:p>
            <a:r>
              <a:t>FWA</a:t>
            </a:r>
          </a:p>
        </p:txBody>
      </p:sp>
      <p:sp>
        <p:nvSpPr>
          <p:cNvPr id="87" name="Round Same-side Corner of Rectangle 86">
            <a:extLst>
              <a:ext uri="{FF2B5EF4-FFF2-40B4-BE49-F238E27FC236}">
                <a16:creationId xmlns:a16="http://schemas.microsoft.com/office/drawing/2014/main" id="{89665084-46A2-EB80-0CD9-D58B14DE7E08}"/>
              </a:ext>
            </a:extLst>
          </p:cNvPr>
          <p:cNvSpPr/>
          <p:nvPr/>
        </p:nvSpPr>
        <p:spPr>
          <a:xfrm flipH="1" flipV="1">
            <a:off x="467044" y="2814630"/>
            <a:ext cx="8213405" cy="430930"/>
          </a:xfrm>
          <a:prstGeom prst="round2SameRect">
            <a:avLst>
              <a:gd name="adj1" fmla="val 50000"/>
              <a:gd name="adj2" fmla="val 0"/>
            </a:avLst>
          </a:prstGeom>
          <a:gradFill flip="none" rotWithShape="1">
            <a:gsLst>
              <a:gs pos="0">
                <a:schemeClr val="bg1">
                  <a:alpha val="50000"/>
                </a:schemeClr>
              </a:gs>
              <a:gs pos="99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6" name="TextBox 85">
            <a:extLst>
              <a:ext uri="{FF2B5EF4-FFF2-40B4-BE49-F238E27FC236}">
                <a16:creationId xmlns:a16="http://schemas.microsoft.com/office/drawing/2014/main" id="{FD3D7516-5883-7394-DE5A-D3340AC44506}"/>
              </a:ext>
            </a:extLst>
          </p:cNvPr>
          <p:cNvSpPr txBox="1"/>
          <p:nvPr/>
        </p:nvSpPr>
        <p:spPr>
          <a:xfrm>
            <a:off x="460374" y="2814630"/>
            <a:ext cx="8220076" cy="438778"/>
          </a:xfrm>
          <a:prstGeom prst="rect">
            <a:avLst/>
          </a:prstGeom>
        </p:spPr>
        <p:txBody>
          <a:bodyPr vert="horz" wrap="square" lIns="0" tIns="0" rIns="0" bIns="0" numCol="1" spcCol="0" rtlCol="0" anchor="ctr" anchorCtr="0">
            <a:noAutofit/>
          </a:bodyPr>
          <a:lstStyle/>
          <a:p>
            <a:r>
              <a:t>Texte :</a:t>
            </a:r>
          </a:p>
          <a:p>
            <a:r>
              <a:t>Portefeuille de produits de nouvelle génération couvrant toutes les technologies</a:t>
            </a:r>
          </a:p>
        </p:txBody>
      </p:sp>
      <p:sp>
        <p:nvSpPr>
          <p:cNvPr id="3" name="TextBox 2">
            <a:extLst>
              <a:ext uri="{FF2B5EF4-FFF2-40B4-BE49-F238E27FC236}">
                <a16:creationId xmlns:a16="http://schemas.microsoft.com/office/drawing/2014/main" id="{7D02FBED-3318-BE31-4C0F-64546713C073}"/>
              </a:ext>
            </a:extLst>
          </p:cNvPr>
          <p:cNvSpPr txBox="1"/>
          <p:nvPr/>
        </p:nvSpPr>
        <p:spPr>
          <a:xfrm>
            <a:off x="467044" y="4819840"/>
            <a:ext cx="4572000" cy="123111"/>
          </a:xfrm>
          <a:prstGeom prst="rect">
            <a:avLst/>
          </a:prstGeom>
          <a:noFill/>
        </p:spPr>
        <p:txBody>
          <a:bodyPr wrap="square" lIns="0" tIns="0" rIns="0" bIns="0">
            <a:spAutoFit/>
          </a:bodyPr>
          <a:lstStyle/>
          <a:p>
            <a:r>
              <a:t>Texte :</a:t>
            </a:r>
          </a:p>
          <a:p>
            <a:r>
              <a:t>Sous réserve que les parties parviennent à un accord final ainsi que des approbations réglementaires et antitrust</a:t>
            </a:r>
          </a:p>
        </p:txBody>
      </p:sp>
      <p:sp>
        <p:nvSpPr>
          <p:cNvPr id="7" name="Title 1">
            <a:extLst>
              <a:ext uri="{FF2B5EF4-FFF2-40B4-BE49-F238E27FC236}">
                <a16:creationId xmlns:a16="http://schemas.microsoft.com/office/drawing/2014/main" id="{85F58AD9-FB6D-0696-7DEB-9CF5F4BF9563}"/>
              </a:ext>
            </a:extLst>
          </p:cNvPr>
          <p:cNvSpPr>
            <a:spLocks noGrp="1"/>
          </p:cNvSpPr>
          <p:nvPr>
            <p:ph type="title"/>
          </p:nvPr>
        </p:nvSpPr>
        <p:spPr>
          <a:xfrm>
            <a:off x="1226990" y="377827"/>
            <a:ext cx="7455051" cy="660092"/>
          </a:xfrm>
        </p:spPr>
        <p:txBody>
          <a:bodyPr anchor="ctr"/>
          <a:lstStyle/>
          <a:p>
            <a:r>
              <a:t>Texte :</a:t>
            </a:r>
          </a:p>
          <a:p>
            <a:r>
              <a:t>Expérience multi-accès</a:t>
            </a:r>
          </a:p>
        </p:txBody>
      </p:sp>
      <p:sp>
        <p:nvSpPr>
          <p:cNvPr id="8" name="!!OVAL_network">
            <a:extLst>
              <a:ext uri="{FF2B5EF4-FFF2-40B4-BE49-F238E27FC236}">
                <a16:creationId xmlns:a16="http://schemas.microsoft.com/office/drawing/2014/main" id="{21FDBE32-E76B-041F-1DE6-3FBE16C38F73}"/>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sp>
        <p:nvSpPr>
          <p:cNvPr id="10" name="!!OVAL_network">
            <a:extLst>
              <a:ext uri="{FF2B5EF4-FFF2-40B4-BE49-F238E27FC236}">
                <a16:creationId xmlns:a16="http://schemas.microsoft.com/office/drawing/2014/main" id="{B7BBCCE3-FB42-525D-0D5E-D20A8D30B5B4}"/>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14" name="Graphic 13">
            <a:extLst>
              <a:ext uri="{FF2B5EF4-FFF2-40B4-BE49-F238E27FC236}">
                <a16:creationId xmlns:a16="http://schemas.microsoft.com/office/drawing/2014/main" id="{12416BDD-33FB-60AD-4D85-3DC61D8EA9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3875" y="517372"/>
            <a:ext cx="381000" cy="381000"/>
          </a:xfrm>
          <a:prstGeom prst="rect">
            <a:avLst/>
          </a:prstGeom>
        </p:spPr>
      </p:pic>
    </p:spTree>
    <p:extLst>
      <p:ext uri="{BB962C8B-B14F-4D97-AF65-F5344CB8AC3E}">
        <p14:creationId xmlns:p14="http://schemas.microsoft.com/office/powerpoint/2010/main" val="570686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113ED-9437-6100-B934-32520C8209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581983-C32D-D1EE-A6D8-3DA224803FAA}"/>
              </a:ext>
            </a:extLst>
          </p:cNvPr>
          <p:cNvSpPr>
            <a:spLocks noGrp="1"/>
          </p:cNvSpPr>
          <p:nvPr>
            <p:ph type="title"/>
          </p:nvPr>
        </p:nvSpPr>
        <p:spPr>
          <a:xfrm>
            <a:off x="1226990" y="377827"/>
            <a:ext cx="7455051" cy="660092"/>
          </a:xfrm>
        </p:spPr>
        <p:txBody>
          <a:bodyPr anchor="ctr"/>
          <a:lstStyle/>
          <a:p>
            <a:r>
              <a:t>Texte :</a:t>
            </a:r>
          </a:p>
          <a:p>
            <a:r>
              <a:t>Expérience multi-accès en 2025</a:t>
            </a:r>
          </a:p>
        </p:txBody>
      </p:sp>
      <p:sp>
        <p:nvSpPr>
          <p:cNvPr id="39" name="!!OVAL_network">
            <a:extLst>
              <a:ext uri="{FF2B5EF4-FFF2-40B4-BE49-F238E27FC236}">
                <a16:creationId xmlns:a16="http://schemas.microsoft.com/office/drawing/2014/main" id="{FA061019-D5D0-933F-5DCB-D764C7BC141D}"/>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0CEE8652-FAF7-4E0C-8DA1-CBDC7EDEA6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5" name="Text Placeholder 4">
            <a:extLst>
              <a:ext uri="{FF2B5EF4-FFF2-40B4-BE49-F238E27FC236}">
                <a16:creationId xmlns:a16="http://schemas.microsoft.com/office/drawing/2014/main" id="{1F64FD6A-D50F-B409-07B7-97D161F6374F}"/>
              </a:ext>
            </a:extLst>
          </p:cNvPr>
          <p:cNvSpPr txBox="1">
            <a:spLocks/>
          </p:cNvSpPr>
          <p:nvPr/>
        </p:nvSpPr>
        <p:spPr>
          <a:xfrm>
            <a:off x="460376" y="1326777"/>
            <a:ext cx="3004676" cy="3395696"/>
          </a:xfrm>
          <a:prstGeom prst="roundRect">
            <a:avLst>
              <a:gd name="adj" fmla="val 6340"/>
            </a:avLst>
          </a:prstGeom>
          <a:solidFill>
            <a:schemeClr val="tx1"/>
          </a:solid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  Harmoniser</a:t>
            </a:r>
          </a:p>
          <a:p/>
          <a:p>
            <a:r>
              <a:t>Vente sur HP</a:t>
            </a:r>
          </a:p>
          <a:p>
            <a:r>
              <a:t>Objectif = Modèle JViaB</a:t>
            </a:r>
          </a:p>
          <a:p>
            <a:r>
              <a:t>API standards pour Telenet</a:t>
            </a:r>
          </a:p>
        </p:txBody>
      </p:sp>
      <p:pic>
        <p:nvPicPr>
          <p:cNvPr id="10" name="Picture 9" descr="A blue text on a white background&#10;&#10;Description automatically generated">
            <a:extLst>
              <a:ext uri="{FF2B5EF4-FFF2-40B4-BE49-F238E27FC236}">
                <a16:creationId xmlns:a16="http://schemas.microsoft.com/office/drawing/2014/main" id="{5D949377-6E46-F234-A20A-7A0C5DCF53D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108375" y="2072887"/>
            <a:ext cx="1562597" cy="437531"/>
          </a:xfrm>
          <a:prstGeom prst="rect">
            <a:avLst/>
          </a:prstGeom>
          <a:noFill/>
        </p:spPr>
      </p:pic>
      <p:sp>
        <p:nvSpPr>
          <p:cNvPr id="13" name="Text Placeholder 4">
            <a:extLst>
              <a:ext uri="{FF2B5EF4-FFF2-40B4-BE49-F238E27FC236}">
                <a16:creationId xmlns:a16="http://schemas.microsoft.com/office/drawing/2014/main" id="{DDE5DAA2-BB35-DADE-2B79-AA835A30E864}"/>
              </a:ext>
            </a:extLst>
          </p:cNvPr>
          <p:cNvSpPr txBox="1">
            <a:spLocks/>
          </p:cNvSpPr>
          <p:nvPr/>
        </p:nvSpPr>
        <p:spPr>
          <a:xfrm>
            <a:off x="3735213" y="1326777"/>
            <a:ext cx="3004676" cy="3395696"/>
          </a:xfrm>
          <a:prstGeom prst="roundRect">
            <a:avLst>
              <a:gd name="adj" fmla="val 6340"/>
            </a:avLst>
          </a:prstGeom>
          <a:solidFill>
            <a:schemeClr val="tx1"/>
          </a:solid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2  Préparez HFC</a:t>
            </a:r>
          </a:p>
          <a:p/>
          <a:p>
            <a:r>
              <a:t>Nouveau produit Proximus sur HFC</a:t>
            </a:r>
          </a:p>
          <a:p>
            <a:r>
              <a:t>Modem HFC</a:t>
            </a:r>
          </a:p>
          <a:p>
            <a:r>
              <a:t>Solution réseau de bout en bout</a:t>
            </a:r>
          </a:p>
          <a:p>
            <a:r>
              <a:t>APIs avec Wyre</a:t>
            </a:r>
          </a:p>
        </p:txBody>
      </p:sp>
      <p:grpSp>
        <p:nvGrpSpPr>
          <p:cNvPr id="16" name="Group 15">
            <a:extLst>
              <a:ext uri="{FF2B5EF4-FFF2-40B4-BE49-F238E27FC236}">
                <a16:creationId xmlns:a16="http://schemas.microsoft.com/office/drawing/2014/main" id="{AD734A48-4AC0-D205-D547-9955B2FF0466}"/>
              </a:ext>
            </a:extLst>
          </p:cNvPr>
          <p:cNvGrpSpPr/>
          <p:nvPr/>
        </p:nvGrpSpPr>
        <p:grpSpPr>
          <a:xfrm>
            <a:off x="4419600" y="2144447"/>
            <a:ext cx="902825" cy="294403"/>
            <a:chOff x="6399138" y="1794304"/>
            <a:chExt cx="1373876" cy="530467"/>
          </a:xfrm>
        </p:grpSpPr>
        <p:sp>
          <p:nvSpPr>
            <p:cNvPr id="17" name="Freeform: Shape 40">
              <a:extLst>
                <a:ext uri="{FF2B5EF4-FFF2-40B4-BE49-F238E27FC236}">
                  <a16:creationId xmlns:a16="http://schemas.microsoft.com/office/drawing/2014/main" id="{D37B87E3-B356-4E27-7B8B-68DE57D38270}"/>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18" name="Freeform: Shape 41">
              <a:extLst>
                <a:ext uri="{FF2B5EF4-FFF2-40B4-BE49-F238E27FC236}">
                  <a16:creationId xmlns:a16="http://schemas.microsoft.com/office/drawing/2014/main" id="{8053D3BC-B6A6-886E-0388-5574617691FD}"/>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19" name="Freeform: Shape 42">
              <a:extLst>
                <a:ext uri="{FF2B5EF4-FFF2-40B4-BE49-F238E27FC236}">
                  <a16:creationId xmlns:a16="http://schemas.microsoft.com/office/drawing/2014/main" id="{E74D0BCE-83EB-FA0D-70C6-D39089204D8F}"/>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20" name="Freeform: Shape 43">
              <a:extLst>
                <a:ext uri="{FF2B5EF4-FFF2-40B4-BE49-F238E27FC236}">
                  <a16:creationId xmlns:a16="http://schemas.microsoft.com/office/drawing/2014/main" id="{9295D910-7F4E-3A0D-8C3D-F26BBC072730}"/>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grpSp>
      <p:sp>
        <p:nvSpPr>
          <p:cNvPr id="8" name="Afgeronde rechthoek 7">
            <a:extLst>
              <a:ext uri="{FF2B5EF4-FFF2-40B4-BE49-F238E27FC236}">
                <a16:creationId xmlns:a16="http://schemas.microsoft.com/office/drawing/2014/main" id="{45F5665B-C907-CDC8-6453-67A443CE0D8A}"/>
              </a:ext>
            </a:extLst>
          </p:cNvPr>
          <p:cNvSpPr/>
          <p:nvPr/>
        </p:nvSpPr>
        <p:spPr>
          <a:xfrm>
            <a:off x="453233" y="4003675"/>
            <a:ext cx="3011819" cy="718797"/>
          </a:xfrm>
          <a:prstGeom prst="round2SameRect">
            <a:avLst>
              <a:gd name="adj1" fmla="val 0"/>
              <a:gd name="adj2" fmla="val 22859"/>
            </a:avLst>
          </a:prstGeom>
          <a:gradFill>
            <a:gsLst>
              <a:gs pos="0">
                <a:srgbClr val="5C2D91"/>
              </a:gs>
              <a:gs pos="99000">
                <a:srgbClr val="41C3FF"/>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0" rtlCol="0" anchor="ctr" anchorCtr="0"/>
          <a:lstStyle/>
          <a:p>
            <a:r>
              <a:t>Texte :</a:t>
            </a:r>
          </a:p>
          <a:p>
            <a:r>
              <a:t>Déploiement sécurisé : pas de perturbation informatique</a:t>
            </a:r>
          </a:p>
        </p:txBody>
      </p:sp>
      <p:sp>
        <p:nvSpPr>
          <p:cNvPr id="3" name="Text Placeholder 4">
            <a:extLst>
              <a:ext uri="{FF2B5EF4-FFF2-40B4-BE49-F238E27FC236}">
                <a16:creationId xmlns:a16="http://schemas.microsoft.com/office/drawing/2014/main" id="{E4301D69-45F5-E21A-BA6F-EE188973D647}"/>
              </a:ext>
            </a:extLst>
          </p:cNvPr>
          <p:cNvSpPr txBox="1">
            <a:spLocks/>
          </p:cNvSpPr>
          <p:nvPr/>
        </p:nvSpPr>
        <p:spPr>
          <a:xfrm>
            <a:off x="7010049" y="1326777"/>
            <a:ext cx="1657199" cy="3395696"/>
          </a:xfrm>
          <a:prstGeom prst="roundRect">
            <a:avLst>
              <a:gd name="adj" fmla="val 11495"/>
            </a:avLst>
          </a:prstGeom>
          <a:blipFill>
            <a:blip r:embed="rId6">
              <a:extLst>
                <a:ext uri="{BEBA8EAE-BF5A-486C-A8C5-ECC9F3942E4B}">
                  <a14:imgProps xmlns:a14="http://schemas.microsoft.com/office/drawing/2010/main">
                    <a14:imgLayer r:embed="rId7">
                      <a14:imgEffect>
                        <a14:brightnessContrast bright="20000" contrast="20000"/>
                      </a14:imgEffect>
                    </a14:imgLayer>
                  </a14:imgProps>
                </a:ext>
              </a:extLst>
            </a:blip>
            <a:srcRect/>
            <a:stretch>
              <a:fillRect l="-46806" r="-217472"/>
            </a:stretch>
          </a:blip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900"/>
              </a:spcAft>
              <a:buClr>
                <a:srgbClr val="41C3FF"/>
              </a:buClr>
              <a:buNone/>
              <a:defRPr/>
            </a:pPr>
            <a:endParaRPr lang="en-US" sz="1350" b="1">
              <a:solidFill>
                <a:srgbClr val="141C24"/>
              </a:solidFill>
              <a:latin typeface="Proximus Light" pitchFamily="2" charset="77"/>
            </a:endParaRPr>
          </a:p>
        </p:txBody>
      </p:sp>
      <p:sp>
        <p:nvSpPr>
          <p:cNvPr id="7" name="Text Placeholder 4">
            <a:extLst>
              <a:ext uri="{FF2B5EF4-FFF2-40B4-BE49-F238E27FC236}">
                <a16:creationId xmlns:a16="http://schemas.microsoft.com/office/drawing/2014/main" id="{7B106141-DF9D-915A-6BD8-273ACC49E2E8}"/>
              </a:ext>
            </a:extLst>
          </p:cNvPr>
          <p:cNvSpPr txBox="1">
            <a:spLocks/>
          </p:cNvSpPr>
          <p:nvPr/>
        </p:nvSpPr>
        <p:spPr>
          <a:xfrm>
            <a:off x="7017192" y="1442148"/>
            <a:ext cx="1657199" cy="659315"/>
          </a:xfrm>
          <a:prstGeom prst="roundRect">
            <a:avLst>
              <a:gd name="adj" fmla="val 11495"/>
            </a:avLst>
          </a:prstGeom>
          <a:noFill/>
          <a:effectLst>
            <a:outerShdw blurRad="508000" dist="38100" dir="5400000" algn="t" rotWithShape="0">
              <a:prstClr val="black">
                <a:alpha val="15000"/>
              </a:prstClr>
            </a:outerShdw>
          </a:effectLst>
        </p:spPr>
        <p:txBody>
          <a:bodyPr lIns="180000" tIns="81000" rIns="180000" bIns="81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Concept de brise-glace</a:t>
            </a:r>
          </a:p>
        </p:txBody>
      </p:sp>
      <p:sp>
        <p:nvSpPr>
          <p:cNvPr id="14" name="TextBox 13">
            <a:extLst>
              <a:ext uri="{FF2B5EF4-FFF2-40B4-BE49-F238E27FC236}">
                <a16:creationId xmlns:a16="http://schemas.microsoft.com/office/drawing/2014/main" id="{D5811B9D-5649-AE5F-963E-C54610DD523B}"/>
              </a:ext>
            </a:extLst>
          </p:cNvPr>
          <p:cNvSpPr txBox="1"/>
          <p:nvPr/>
        </p:nvSpPr>
        <p:spPr>
          <a:xfrm>
            <a:off x="1108375" y="4025107"/>
            <a:ext cx="419695" cy="632619"/>
          </a:xfrm>
          <a:prstGeom prst="rect">
            <a:avLst/>
          </a:prstGeom>
          <a:noFill/>
        </p:spPr>
        <p:txBody>
          <a:bodyPr wrap="square" lIns="0" tIns="0" rIns="0" bIns="0" anchor="ctr">
            <a:noAutofit/>
          </a:bodyPr>
          <a:lstStyle/>
          <a:p>
            <a:r>
              <a:t>Texte:</a:t>
            </a:r>
          </a:p>
          <a:p>
            <a:r>
              <a:t>!</a:t>
            </a:r>
          </a:p>
        </p:txBody>
      </p:sp>
    </p:spTree>
    <p:extLst>
      <p:ext uri="{BB962C8B-B14F-4D97-AF65-F5344CB8AC3E}">
        <p14:creationId xmlns:p14="http://schemas.microsoft.com/office/powerpoint/2010/main" val="556553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5856656-38A4-3694-A9C0-EB08C10288D0}"/>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29B5343B-D6A8-5D22-982F-65128C3AC73A}"/>
              </a:ext>
            </a:extLst>
          </p:cNvPr>
          <p:cNvSpPr>
            <a:spLocks noGrp="1"/>
          </p:cNvSpPr>
          <p:nvPr>
            <p:ph type="body" sz="quarter" idx="13"/>
          </p:nvPr>
        </p:nvSpPr>
        <p:spPr>
          <a:xfrm>
            <a:off x="460369" y="923131"/>
            <a:ext cx="1908000" cy="3297238"/>
          </a:xfrm>
          <a:solidFill>
            <a:schemeClr val="tx1"/>
          </a:solidFill>
        </p:spPr>
        <p:txBody>
          <a:bodyPr tIns="1494000"/>
          <a:lstStyle/>
          <a:p>
            <a:r>
              <a:t>Texte :</a:t>
            </a:r>
          </a:p>
          <a:p>
            <a:r>
              <a:t>Expériences audacieuses</a:t>
            </a:r>
          </a:p>
        </p:txBody>
      </p:sp>
      <p:sp>
        <p:nvSpPr>
          <p:cNvPr id="4" name="!!box2">
            <a:extLst>
              <a:ext uri="{FF2B5EF4-FFF2-40B4-BE49-F238E27FC236}">
                <a16:creationId xmlns:a16="http://schemas.microsoft.com/office/drawing/2014/main" id="{A86B7657-0AFB-F885-502B-2CE427831717}"/>
              </a:ext>
            </a:extLst>
          </p:cNvPr>
          <p:cNvSpPr>
            <a:spLocks noGrp="1"/>
          </p:cNvSpPr>
          <p:nvPr>
            <p:ph type="body" sz="quarter" idx="14"/>
          </p:nvPr>
        </p:nvSpPr>
        <p:spPr>
          <a:xfrm>
            <a:off x="2562393" y="923131"/>
            <a:ext cx="1908000" cy="3297238"/>
          </a:xfrm>
          <a:gradFill flip="none" rotWithShape="1">
            <a:gsLst>
              <a:gs pos="0">
                <a:schemeClr val="bg1"/>
              </a:gs>
              <a:gs pos="100000">
                <a:schemeClr val="accent2"/>
              </a:gs>
            </a:gsLst>
            <a:lin ang="4200000" scaled="0"/>
            <a:tileRect/>
          </a:gradFill>
        </p:spPr>
        <p:txBody>
          <a:bodyPr tIns="1494000"/>
          <a:lstStyle/>
          <a:p>
            <a:r>
              <a:t>Texte :</a:t>
            </a:r>
          </a:p>
          <a:p>
            <a:r>
              <a:t>Audace et efficacité</a:t>
            </a:r>
          </a:p>
        </p:txBody>
      </p:sp>
      <p:sp>
        <p:nvSpPr>
          <p:cNvPr id="5" name="!!box3">
            <a:extLst>
              <a:ext uri="{FF2B5EF4-FFF2-40B4-BE49-F238E27FC236}">
                <a16:creationId xmlns:a16="http://schemas.microsoft.com/office/drawing/2014/main" id="{01E1207E-863A-03E7-D16B-C6D2840E8CEF}"/>
              </a:ext>
            </a:extLst>
          </p:cNvPr>
          <p:cNvSpPr>
            <a:spLocks noGrp="1"/>
          </p:cNvSpPr>
          <p:nvPr>
            <p:ph type="body" sz="quarter" idx="15"/>
          </p:nvPr>
        </p:nvSpPr>
        <p:spPr>
          <a:xfrm>
            <a:off x="4668423" y="923131"/>
            <a:ext cx="1908000" cy="3297238"/>
          </a:xfrm>
          <a:solidFill>
            <a:schemeClr val="tx1"/>
          </a:solidFill>
        </p:spPr>
        <p:txBody>
          <a:bodyPr tIns="1494000"/>
          <a:lstStyle/>
          <a:p>
            <a:r>
              <a:t>Texte :</a:t>
            </a:r>
          </a:p>
          <a:p>
            <a:r>
              <a:t>Audace et pérennité</a:t>
            </a:r>
          </a:p>
        </p:txBody>
      </p:sp>
      <p:sp>
        <p:nvSpPr>
          <p:cNvPr id="7" name="!!box5">
            <a:extLst>
              <a:ext uri="{FF2B5EF4-FFF2-40B4-BE49-F238E27FC236}">
                <a16:creationId xmlns:a16="http://schemas.microsoft.com/office/drawing/2014/main" id="{77754D97-69ED-DEB9-DB06-BEA8622592FC}"/>
              </a:ext>
            </a:extLst>
          </p:cNvPr>
          <p:cNvSpPr>
            <a:spLocks noGrp="1"/>
          </p:cNvSpPr>
          <p:nvPr>
            <p:ph type="body" sz="quarter" idx="17"/>
          </p:nvPr>
        </p:nvSpPr>
        <p:spPr>
          <a:xfrm>
            <a:off x="6772450" y="923131"/>
            <a:ext cx="1908000" cy="3297238"/>
          </a:xfrm>
          <a:solidFill>
            <a:schemeClr val="tx1"/>
          </a:solidFill>
        </p:spPr>
        <p:txBody>
          <a:bodyPr tIns="1494000"/>
          <a:lstStyle/>
          <a:p>
            <a:r>
              <a:t>Texte :</a:t>
            </a:r>
          </a:p>
          <a:p>
            <a:r>
              <a:t>Des gens audacieux</a:t>
            </a:r>
          </a:p>
        </p:txBody>
      </p:sp>
      <p:grpSp>
        <p:nvGrpSpPr>
          <p:cNvPr id="63" name="Group 62">
            <a:extLst>
              <a:ext uri="{FF2B5EF4-FFF2-40B4-BE49-F238E27FC236}">
                <a16:creationId xmlns:a16="http://schemas.microsoft.com/office/drawing/2014/main" id="{E7115CBA-760B-6164-8779-EB87BED7724E}"/>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56B57833-D691-9AC6-9A5A-C25EDB95AB63}"/>
                </a:ext>
              </a:extLst>
            </p:cNvPr>
            <p:cNvSpPr>
              <a:spLocks noChangeAspect="1"/>
            </p:cNvSpPr>
            <p:nvPr/>
          </p:nvSpPr>
          <p:spPr>
            <a:xfrm>
              <a:off x="869838" y="1363153"/>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522A4FB2-77FF-FFEE-9152-5F3C88C8C362}"/>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2EE339E2-1BCA-1E42-3349-B2D31A8520B1}"/>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EA5DB3DE-E16C-E23F-717D-97588E8AA8C3}"/>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pic>
        <p:nvPicPr>
          <p:cNvPr id="49" name="Graphic 48">
            <a:extLst>
              <a:ext uri="{FF2B5EF4-FFF2-40B4-BE49-F238E27FC236}">
                <a16:creationId xmlns:a16="http://schemas.microsoft.com/office/drawing/2014/main" id="{F18214A3-FB05-7F80-A014-22DA5333BA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38593" y="1536636"/>
            <a:ext cx="355600" cy="355600"/>
          </a:xfrm>
          <a:prstGeom prst="rect">
            <a:avLst/>
          </a:prstGeom>
        </p:spPr>
      </p:pic>
      <p:sp>
        <p:nvSpPr>
          <p:cNvPr id="50" name="!!OVAL_technology">
            <a:extLst>
              <a:ext uri="{FF2B5EF4-FFF2-40B4-BE49-F238E27FC236}">
                <a16:creationId xmlns:a16="http://schemas.microsoft.com/office/drawing/2014/main" id="{E79A1102-0B51-FB57-F3C7-388480965414}"/>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8" name="Group 67">
            <a:extLst>
              <a:ext uri="{FF2B5EF4-FFF2-40B4-BE49-F238E27FC236}">
                <a16:creationId xmlns:a16="http://schemas.microsoft.com/office/drawing/2014/main" id="{E4395B8F-083A-AB1A-36A2-DF5DFAE64F47}"/>
              </a:ext>
            </a:extLst>
          </p:cNvPr>
          <p:cNvGrpSpPr/>
          <p:nvPr/>
        </p:nvGrpSpPr>
        <p:grpSpPr>
          <a:xfrm>
            <a:off x="7402450" y="1390436"/>
            <a:ext cx="648000" cy="648000"/>
            <a:chOff x="8824393" y="1279878"/>
            <a:chExt cx="648000" cy="648000"/>
          </a:xfrm>
        </p:grpSpPr>
        <p:sp>
          <p:nvSpPr>
            <p:cNvPr id="53" name="!!OVAL_technology">
              <a:extLst>
                <a:ext uri="{FF2B5EF4-FFF2-40B4-BE49-F238E27FC236}">
                  <a16:creationId xmlns:a16="http://schemas.microsoft.com/office/drawing/2014/main" id="{12CE9347-8FE1-FF2C-0302-78AC74D0350C}"/>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711F83E1-B78E-11FB-3D44-33ACB4CAED80}"/>
                </a:ext>
              </a:extLst>
            </p:cNvPr>
            <p:cNvGrpSpPr/>
            <p:nvPr/>
          </p:nvGrpSpPr>
          <p:grpSpPr>
            <a:xfrm>
              <a:off x="8967408" y="1422903"/>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A7DB46F2-4ADD-497D-2FCA-EAF39474BA42}"/>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94101E32-C1B7-DBF5-AB7F-34B6081D12BA}"/>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ACC66028-070F-81EC-E27D-1CB7D061146E}"/>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grpSp>
        <p:nvGrpSpPr>
          <p:cNvPr id="24" name="Group 23">
            <a:extLst>
              <a:ext uri="{FF2B5EF4-FFF2-40B4-BE49-F238E27FC236}">
                <a16:creationId xmlns:a16="http://schemas.microsoft.com/office/drawing/2014/main" id="{096FD437-2312-5B47-839E-C3524C241B5B}"/>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8DA75427-2B90-5E9D-D5C5-050419D9E0D0}"/>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BD15290C-4DA9-65AB-3472-E2D80B7E7A16}"/>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D8A7C92A-3DF3-8064-7136-6EC79A156F5E}"/>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2B0B52E4-3C4F-4F44-82BE-DC1FB272B536}"/>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3CDA27BF-81B0-0F96-EE4C-2E1749D77421}"/>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1886734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7C5F1-E7C0-8170-3A92-9DCFA94DC9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D67291-4AEB-445E-C7A5-434EFE54B27C}"/>
              </a:ext>
            </a:extLst>
          </p:cNvPr>
          <p:cNvSpPr>
            <a:spLocks noGrp="1"/>
          </p:cNvSpPr>
          <p:nvPr>
            <p:ph type="title"/>
          </p:nvPr>
        </p:nvSpPr>
        <p:spPr>
          <a:xfrm>
            <a:off x="1252548" y="377826"/>
            <a:ext cx="7429492" cy="660092"/>
          </a:xfrm>
        </p:spPr>
        <p:txBody>
          <a:bodyPr anchor="ctr"/>
          <a:lstStyle/>
          <a:p>
            <a:r>
              <a:t>Texte :</a:t>
            </a:r>
          </a:p>
          <a:p>
            <a:r>
              <a:t>Efficacité audacieuse</a:t>
            </a:r>
          </a:p>
        </p:txBody>
      </p:sp>
      <p:sp>
        <p:nvSpPr>
          <p:cNvPr id="3" name="Text Placeholder 2">
            <a:extLst>
              <a:ext uri="{FF2B5EF4-FFF2-40B4-BE49-F238E27FC236}">
                <a16:creationId xmlns:a16="http://schemas.microsoft.com/office/drawing/2014/main" id="{A0277F63-E479-9870-3BA3-563C04DCCDE8}"/>
              </a:ext>
            </a:extLst>
          </p:cNvPr>
          <p:cNvSpPr>
            <a:spLocks noGrp="1"/>
          </p:cNvSpPr>
          <p:nvPr>
            <p:ph type="body" sz="quarter" idx="4294967295"/>
          </p:nvPr>
        </p:nvSpPr>
        <p:spPr>
          <a:xfrm>
            <a:off x="460375" y="1408113"/>
            <a:ext cx="1890252" cy="2774950"/>
          </a:xfrm>
          <a:prstGeom prst="roundRect">
            <a:avLst>
              <a:gd name="adj" fmla="val 10078"/>
            </a:avLst>
          </a:prstGeom>
          <a:gradFill flip="none" rotWithShape="1">
            <a:gsLst>
              <a:gs pos="0">
                <a:schemeClr val="bg1"/>
              </a:gs>
              <a:gs pos="100000">
                <a:srgbClr val="F3800B"/>
              </a:gs>
            </a:gsLst>
            <a:lin ang="10800000" scaled="1"/>
            <a:tileRect/>
          </a:gradFill>
        </p:spPr>
        <p:txBody>
          <a:bodyPr tIns="576000" anchor="ctr"/>
          <a:lstStyle/>
          <a:p>
            <a:r>
              <a:t>Texte :</a:t>
            </a:r>
          </a:p>
          <a:p>
            <a:r>
              <a:t>Amélioration de l'efficacité par l'automatisation &amp; l'IA</a:t>
            </a:r>
          </a:p>
        </p:txBody>
      </p:sp>
      <p:sp>
        <p:nvSpPr>
          <p:cNvPr id="8" name="Text Placeholder 7">
            <a:extLst>
              <a:ext uri="{FF2B5EF4-FFF2-40B4-BE49-F238E27FC236}">
                <a16:creationId xmlns:a16="http://schemas.microsoft.com/office/drawing/2014/main" id="{BB64E9FF-3A95-AE2A-8BCA-911FDD5CBFBE}"/>
              </a:ext>
            </a:extLst>
          </p:cNvPr>
          <p:cNvSpPr>
            <a:spLocks noGrp="1"/>
          </p:cNvSpPr>
          <p:nvPr>
            <p:ph type="body" sz="quarter" idx="4294967295"/>
          </p:nvPr>
        </p:nvSpPr>
        <p:spPr>
          <a:xfrm>
            <a:off x="2515731" y="1408113"/>
            <a:ext cx="1963483" cy="2774950"/>
          </a:xfrm>
          <a:prstGeom prst="roundRect">
            <a:avLst>
              <a:gd name="adj" fmla="val 9702"/>
            </a:avLst>
          </a:prstGeom>
          <a:solidFill>
            <a:schemeClr val="bg1"/>
          </a:solidFill>
        </p:spPr>
        <p:txBody>
          <a:bodyPr tIns="576000" anchor="ctr"/>
          <a:lstStyle/>
          <a:p>
            <a:r>
              <a:t>Texte :</a:t>
            </a:r>
          </a:p>
          <a:p>
            <a:r>
              <a:t>Coupure du cuivre</a:t>
            </a:r>
          </a:p>
        </p:txBody>
      </p:sp>
      <p:pic>
        <p:nvPicPr>
          <p:cNvPr id="21" name="Graphic 20">
            <a:extLst>
              <a:ext uri="{FF2B5EF4-FFF2-40B4-BE49-F238E27FC236}">
                <a16:creationId xmlns:a16="http://schemas.microsoft.com/office/drawing/2014/main" id="{90717BC6-8F26-52C5-28E1-A22C2A6F8D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1699" y="-539939"/>
            <a:ext cx="314325" cy="361950"/>
          </a:xfrm>
          <a:prstGeom prst="rect">
            <a:avLst/>
          </a:prstGeom>
        </p:spPr>
      </p:pic>
      <p:grpSp>
        <p:nvGrpSpPr>
          <p:cNvPr id="5" name="Group 4">
            <a:extLst>
              <a:ext uri="{FF2B5EF4-FFF2-40B4-BE49-F238E27FC236}">
                <a16:creationId xmlns:a16="http://schemas.microsoft.com/office/drawing/2014/main" id="{4AC505EE-98AA-3611-C52D-4EA79C476C6D}"/>
              </a:ext>
            </a:extLst>
          </p:cNvPr>
          <p:cNvGrpSpPr/>
          <p:nvPr/>
        </p:nvGrpSpPr>
        <p:grpSpPr>
          <a:xfrm>
            <a:off x="460375" y="389918"/>
            <a:ext cx="648000" cy="648000"/>
            <a:chOff x="2559633" y="1384953"/>
            <a:chExt cx="648000" cy="648000"/>
          </a:xfrm>
        </p:grpSpPr>
        <p:sp>
          <p:nvSpPr>
            <p:cNvPr id="6" name="!!OVAL_brands">
              <a:extLst>
                <a:ext uri="{FF2B5EF4-FFF2-40B4-BE49-F238E27FC236}">
                  <a16:creationId xmlns:a16="http://schemas.microsoft.com/office/drawing/2014/main" id="{3B744F23-1A2F-B2F2-681D-4F736314C66F}"/>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7" name="Graphic 6">
              <a:extLst>
                <a:ext uri="{FF2B5EF4-FFF2-40B4-BE49-F238E27FC236}">
                  <a16:creationId xmlns:a16="http://schemas.microsoft.com/office/drawing/2014/main" id="{5F4AB3B1-24A2-22A8-D1A8-0A34EC2589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05833" y="1531153"/>
              <a:ext cx="355600" cy="355600"/>
            </a:xfrm>
            <a:prstGeom prst="rect">
              <a:avLst/>
            </a:prstGeom>
          </p:spPr>
        </p:pic>
      </p:grpSp>
      <p:pic>
        <p:nvPicPr>
          <p:cNvPr id="9" name="Graphic 8">
            <a:extLst>
              <a:ext uri="{FF2B5EF4-FFF2-40B4-BE49-F238E27FC236}">
                <a16:creationId xmlns:a16="http://schemas.microsoft.com/office/drawing/2014/main" id="{DCA8920D-797E-9F00-8A03-1680114B1B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06972" y="1909040"/>
            <a:ext cx="381000" cy="381000"/>
          </a:xfrm>
          <a:prstGeom prst="rect">
            <a:avLst/>
          </a:prstGeom>
        </p:spPr>
      </p:pic>
      <p:pic>
        <p:nvPicPr>
          <p:cNvPr id="11" name="Graphic 10">
            <a:extLst>
              <a:ext uri="{FF2B5EF4-FFF2-40B4-BE49-F238E27FC236}">
                <a16:creationId xmlns:a16="http://schemas.microsoft.com/office/drawing/2014/main" id="{4284CE65-B654-CD41-8999-03A9FDDF22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41753" y="1878936"/>
            <a:ext cx="355600" cy="355600"/>
          </a:xfrm>
          <a:prstGeom prst="rect">
            <a:avLst/>
          </a:prstGeom>
        </p:spPr>
      </p:pic>
      <p:sp>
        <p:nvSpPr>
          <p:cNvPr id="10" name="Text Placeholder 7">
            <a:extLst>
              <a:ext uri="{FF2B5EF4-FFF2-40B4-BE49-F238E27FC236}">
                <a16:creationId xmlns:a16="http://schemas.microsoft.com/office/drawing/2014/main" id="{4BFB9046-B5C9-8DF1-8EA5-69845CE864B4}"/>
              </a:ext>
            </a:extLst>
          </p:cNvPr>
          <p:cNvSpPr txBox="1">
            <a:spLocks/>
          </p:cNvSpPr>
          <p:nvPr/>
        </p:nvSpPr>
        <p:spPr>
          <a:xfrm>
            <a:off x="4649477" y="1408113"/>
            <a:ext cx="1963483" cy="2774950"/>
          </a:xfrm>
          <a:prstGeom prst="roundRect">
            <a:avLst>
              <a:gd name="adj" fmla="val 9702"/>
            </a:avLst>
          </a:prstGeom>
          <a:solidFill>
            <a:schemeClr val="bg1"/>
          </a:soli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Déclassement des bâtiments</a:t>
            </a:r>
          </a:p>
        </p:txBody>
      </p:sp>
      <p:sp>
        <p:nvSpPr>
          <p:cNvPr id="15" name="Text Placeholder 3">
            <a:extLst>
              <a:ext uri="{FF2B5EF4-FFF2-40B4-BE49-F238E27FC236}">
                <a16:creationId xmlns:a16="http://schemas.microsoft.com/office/drawing/2014/main" id="{917BA64E-433A-152E-FF51-41F3C4AE12FE}"/>
              </a:ext>
            </a:extLst>
          </p:cNvPr>
          <p:cNvSpPr txBox="1">
            <a:spLocks/>
          </p:cNvSpPr>
          <p:nvPr/>
        </p:nvSpPr>
        <p:spPr>
          <a:xfrm>
            <a:off x="6783185" y="1408113"/>
            <a:ext cx="1896099" cy="2774950"/>
          </a:xfrm>
          <a:prstGeom prst="roundRect">
            <a:avLst>
              <a:gd name="adj" fmla="val 10047"/>
            </a:avLst>
          </a:prstGeom>
          <a:gradFill flip="none" rotWithShape="1">
            <a:gsLst>
              <a:gs pos="0">
                <a:schemeClr val="bg1"/>
              </a:gs>
              <a:gs pos="100000">
                <a:srgbClr val="F3800B"/>
              </a:gs>
            </a:gsLst>
            <a:lin ang="0" scaled="1"/>
            <a:tileRect/>
          </a:gra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Modèle</a:t>
            </a:r>
          </a:p>
          <a:p>
            <a:r>
              <a:t>Opérationnel</a:t>
            </a:r>
          </a:p>
          <a:p>
            <a:r>
              <a:t>Évolué</a:t>
            </a:r>
          </a:p>
        </p:txBody>
      </p:sp>
      <p:pic>
        <p:nvPicPr>
          <p:cNvPr id="16" name="!!ICON_brands">
            <a:extLst>
              <a:ext uri="{FF2B5EF4-FFF2-40B4-BE49-F238E27FC236}">
                <a16:creationId xmlns:a16="http://schemas.microsoft.com/office/drawing/2014/main" id="{2224FD82-29C8-2DF6-F4F8-C6A15702DEA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567676" y="1922618"/>
            <a:ext cx="327115" cy="268235"/>
          </a:xfrm>
          <a:prstGeom prst="rect">
            <a:avLst/>
          </a:prstGeom>
        </p:spPr>
      </p:pic>
      <p:pic>
        <p:nvPicPr>
          <p:cNvPr id="4" name="Graphic 3">
            <a:extLst>
              <a:ext uri="{FF2B5EF4-FFF2-40B4-BE49-F238E27FC236}">
                <a16:creationId xmlns:a16="http://schemas.microsoft.com/office/drawing/2014/main" id="{162609E3-FFA1-8F8D-5B33-809FDC6E327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448262" y="1936254"/>
            <a:ext cx="381000" cy="326571"/>
          </a:xfrm>
          <a:prstGeom prst="rect">
            <a:avLst/>
          </a:prstGeom>
        </p:spPr>
      </p:pic>
    </p:spTree>
    <p:extLst>
      <p:ext uri="{BB962C8B-B14F-4D97-AF65-F5344CB8AC3E}">
        <p14:creationId xmlns:p14="http://schemas.microsoft.com/office/powerpoint/2010/main" val="4037753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FCFBDAEB-8110-68AA-3A8D-95C0917A20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1A3D66-AB58-E4E4-2080-85DB619D3BB8}"/>
              </a:ext>
            </a:extLst>
          </p:cNvPr>
          <p:cNvSpPr>
            <a:spLocks noGrp="1"/>
          </p:cNvSpPr>
          <p:nvPr>
            <p:ph type="title"/>
          </p:nvPr>
        </p:nvSpPr>
        <p:spPr>
          <a:xfrm>
            <a:off x="1226989" y="377826"/>
            <a:ext cx="7455051" cy="660092"/>
          </a:xfrm>
        </p:spPr>
        <p:txBody>
          <a:bodyPr anchor="ctr"/>
          <a:lstStyle/>
          <a:p>
            <a:r>
              <a:t>Texte :</a:t>
            </a:r>
          </a:p>
          <a:p>
            <a:r>
              <a:t>Construire le chemin vers des réseaux autonomes</a:t>
            </a:r>
          </a:p>
        </p:txBody>
      </p:sp>
      <p:sp>
        <p:nvSpPr>
          <p:cNvPr id="39" name="!!OVAL_network">
            <a:extLst>
              <a:ext uri="{FF2B5EF4-FFF2-40B4-BE49-F238E27FC236}">
                <a16:creationId xmlns:a16="http://schemas.microsoft.com/office/drawing/2014/main" id="{D4A87EE9-F416-218A-5F35-32ED2DDDD1D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9C0C8D23-1813-90D0-575A-C332902F8E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75" y="530072"/>
            <a:ext cx="355600" cy="355600"/>
          </a:xfrm>
          <a:prstGeom prst="rect">
            <a:avLst/>
          </a:prstGeom>
        </p:spPr>
      </p:pic>
      <p:pic>
        <p:nvPicPr>
          <p:cNvPr id="9" name="Picture 2">
            <a:extLst>
              <a:ext uri="{FF2B5EF4-FFF2-40B4-BE49-F238E27FC236}">
                <a16:creationId xmlns:a16="http://schemas.microsoft.com/office/drawing/2014/main" id="{539B6F23-BD67-49C9-3703-EF6F863F38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22205" y="1125607"/>
            <a:ext cx="3306314" cy="3648852"/>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2">
            <a:extLst>
              <a:ext uri="{FF2B5EF4-FFF2-40B4-BE49-F238E27FC236}">
                <a16:creationId xmlns:a16="http://schemas.microsoft.com/office/drawing/2014/main" id="{FC7E0162-6777-78A8-9130-713A2990DEE9}"/>
              </a:ext>
            </a:extLst>
          </p:cNvPr>
          <p:cNvSpPr txBox="1">
            <a:spLocks/>
          </p:cNvSpPr>
          <p:nvPr/>
        </p:nvSpPr>
        <p:spPr>
          <a:xfrm>
            <a:off x="16325425" y="1064257"/>
            <a:ext cx="2740643" cy="3710201"/>
          </a:xfrm>
          <a:prstGeom prst="roundRect">
            <a:avLst>
              <a:gd name="adj" fmla="val 6951"/>
            </a:avLst>
          </a:prstGeom>
          <a:solidFill>
            <a:schemeClr val="bg1">
              <a:lumMod val="20000"/>
              <a:lumOff val="80000"/>
            </a:schemeClr>
          </a:solidFill>
          <a:ln>
            <a:solidFill>
              <a:schemeClr val="tx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defPPr>
              <a:defRPr lang="en-US"/>
            </a:defPPr>
            <a:lvl1pPr algn="ctr" defTabSz="1218418">
              <a:defRPr sz="1200" b="1">
                <a:latin typeface="Proximus Bold" panose="00000500000000000000" pitchFamily="2" charset="0"/>
                <a:cs typeface="Proximu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t>Texte :</a:t>
            </a:r>
          </a:p>
          <a:p/>
          <a:p>
            <a:r>
              <a:t>Assistant de Réparation Numérique pour la Fibre</a:t>
            </a:r>
          </a:p>
          <a:p>
            <a:r>
              <a:t>Proposer la meilleure action de réparation ou de résolution suivante pour les problèmes de fibre aux techniciens et aux systèmes.</a:t>
            </a:r>
          </a:p>
          <a:p>
            <a:r>
              <a:t>L'objectif ultime est de développer/déployer un système de recommandation interactif et auto-apprenant.</a:t>
            </a:r>
          </a:p>
          <a:p/>
          <a:p>
            <a:r>
              <a:t>Débruitage de la transmission</a:t>
            </a:r>
          </a:p>
          <a:p>
            <a:r>
              <a:t>IA appliquée pour corréler les déclencheurs du réseau pour une évaluation et une définition plus rapides et meilleures de la Prochaine Meilleure Action dans le NOC.</a:t>
            </a:r>
          </a:p>
        </p:txBody>
      </p:sp>
      <p:sp>
        <p:nvSpPr>
          <p:cNvPr id="15" name="Rectangle 14">
            <a:extLst>
              <a:ext uri="{FF2B5EF4-FFF2-40B4-BE49-F238E27FC236}">
                <a16:creationId xmlns:a16="http://schemas.microsoft.com/office/drawing/2014/main" id="{549C593A-CCD5-3521-C9B7-18986CD7CF08}"/>
              </a:ext>
            </a:extLst>
          </p:cNvPr>
          <p:cNvSpPr/>
          <p:nvPr/>
        </p:nvSpPr>
        <p:spPr>
          <a:xfrm>
            <a:off x="16329037" y="1287874"/>
            <a:ext cx="2737031" cy="329720"/>
          </a:xfrm>
          <a:prstGeom prst="rect">
            <a:avLst/>
          </a:prstGeom>
          <a:solidFill>
            <a:schemeClr val="bg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ctr" anchorCtr="0"/>
          <a:lstStyle/>
          <a:p>
            <a:r>
              <a:t>Texte :</a:t>
            </a:r>
          </a:p>
          <a:p>
            <a:r>
              <a:t>Vers une maintenance et une réparation autonomes</a:t>
            </a:r>
          </a:p>
        </p:txBody>
      </p:sp>
      <p:sp>
        <p:nvSpPr>
          <p:cNvPr id="16" name="TextBox 15">
            <a:extLst>
              <a:ext uri="{FF2B5EF4-FFF2-40B4-BE49-F238E27FC236}">
                <a16:creationId xmlns:a16="http://schemas.microsoft.com/office/drawing/2014/main" id="{B90E7EB8-9615-A679-0E54-072FE1D7DB7F}"/>
              </a:ext>
            </a:extLst>
          </p:cNvPr>
          <p:cNvSpPr txBox="1"/>
          <p:nvPr/>
        </p:nvSpPr>
        <p:spPr>
          <a:xfrm>
            <a:off x="18678442" y="962045"/>
            <a:ext cx="402535" cy="184666"/>
          </a:xfrm>
          <a:prstGeom prst="rect">
            <a:avLst/>
          </a:prstGeom>
          <a:noFill/>
        </p:spPr>
        <p:txBody>
          <a:bodyPr wrap="square" lIns="0" tIns="0" rIns="0" bIns="0" rtlCol="0">
            <a:spAutoFit/>
          </a:bodyPr>
          <a:lstStyle/>
          <a:p>
            <a:r>
              <a:t>Texte :</a:t>
            </a:r>
          </a:p>
          <a:p>
            <a:r>
              <a:t>Principaux cas d'utilisation</a:t>
            </a:r>
          </a:p>
        </p:txBody>
      </p:sp>
      <p:sp>
        <p:nvSpPr>
          <p:cNvPr id="17" name="Text Placeholder 4">
            <a:extLst>
              <a:ext uri="{FF2B5EF4-FFF2-40B4-BE49-F238E27FC236}">
                <a16:creationId xmlns:a16="http://schemas.microsoft.com/office/drawing/2014/main" id="{BC2DD656-4614-373F-3E7E-3E28ABB721E1}"/>
              </a:ext>
            </a:extLst>
          </p:cNvPr>
          <p:cNvSpPr txBox="1">
            <a:spLocks/>
          </p:cNvSpPr>
          <p:nvPr/>
        </p:nvSpPr>
        <p:spPr>
          <a:xfrm>
            <a:off x="465963" y="1508836"/>
            <a:ext cx="1836994" cy="1274435"/>
          </a:xfrm>
          <a:prstGeom prst="roundRect">
            <a:avLst>
              <a:gd name="adj" fmla="val 1037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Automatiser, opérer et maintenir les activités dans la fibre</a:t>
            </a:r>
          </a:p>
        </p:txBody>
      </p:sp>
      <p:sp>
        <p:nvSpPr>
          <p:cNvPr id="18" name="Text Placeholder 4">
            <a:extLst>
              <a:ext uri="{FF2B5EF4-FFF2-40B4-BE49-F238E27FC236}">
                <a16:creationId xmlns:a16="http://schemas.microsoft.com/office/drawing/2014/main" id="{954D6865-E8EB-0B73-7F10-5D3D9B71D2B1}"/>
              </a:ext>
            </a:extLst>
          </p:cNvPr>
          <p:cNvSpPr txBox="1">
            <a:spLocks/>
          </p:cNvSpPr>
          <p:nvPr/>
        </p:nvSpPr>
        <p:spPr>
          <a:xfrm>
            <a:off x="2572179" y="1487270"/>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Exploitez la puissance de l'IA pour l'optimisation des réseaux mobiles et l'économie d'énergie</a:t>
            </a:r>
          </a:p>
        </p:txBody>
      </p:sp>
      <p:sp>
        <p:nvSpPr>
          <p:cNvPr id="19" name="Text Placeholder 4">
            <a:extLst>
              <a:ext uri="{FF2B5EF4-FFF2-40B4-BE49-F238E27FC236}">
                <a16:creationId xmlns:a16="http://schemas.microsoft.com/office/drawing/2014/main" id="{D6894613-493A-1EC4-0E3F-1CA4D54E49F4}"/>
              </a:ext>
            </a:extLst>
          </p:cNvPr>
          <p:cNvSpPr txBox="1">
            <a:spLocks/>
          </p:cNvSpPr>
          <p:nvPr/>
        </p:nvSpPr>
        <p:spPr>
          <a:xfrm>
            <a:off x="2581767" y="3066213"/>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Assistant IA pour faciliter la gestion des connaissances (RAVE, GURU, …)</a:t>
            </a:r>
          </a:p>
        </p:txBody>
      </p:sp>
      <p:sp>
        <p:nvSpPr>
          <p:cNvPr id="20" name="Text Placeholder 4">
            <a:extLst>
              <a:ext uri="{FF2B5EF4-FFF2-40B4-BE49-F238E27FC236}">
                <a16:creationId xmlns:a16="http://schemas.microsoft.com/office/drawing/2014/main" id="{776C51F2-83A4-279B-0B26-C5EF0D01ED8B}"/>
              </a:ext>
            </a:extLst>
          </p:cNvPr>
          <p:cNvSpPr txBox="1">
            <a:spLocks/>
          </p:cNvSpPr>
          <p:nvPr/>
        </p:nvSpPr>
        <p:spPr>
          <a:xfrm>
            <a:off x="470453" y="3066213"/>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Préparez le chemin vers le NOC sombre</a:t>
            </a:r>
          </a:p>
        </p:txBody>
      </p:sp>
      <p:pic>
        <p:nvPicPr>
          <p:cNvPr id="23" name="Picture 22" descr="3D face graphic">
            <a:extLst>
              <a:ext uri="{FF2B5EF4-FFF2-40B4-BE49-F238E27FC236}">
                <a16:creationId xmlns:a16="http://schemas.microsoft.com/office/drawing/2014/main" id="{3F8AB149-9476-ABDD-19DC-0F3B26838E34}"/>
              </a:ext>
            </a:extLst>
          </p:cNvPr>
          <p:cNvPicPr>
            <a:picLocks noChangeAspect="1"/>
          </p:cNvPicPr>
          <p:nvPr/>
        </p:nvPicPr>
        <p:blipFill>
          <a:blip r:embed="rId6"/>
          <a:stretch>
            <a:fillRect/>
          </a:stretch>
        </p:blipFill>
        <p:spPr>
          <a:xfrm>
            <a:off x="4662714" y="1508836"/>
            <a:ext cx="3937000" cy="2815968"/>
          </a:xfrm>
          <a:prstGeom prst="roundRect">
            <a:avLst>
              <a:gd name="adj" fmla="val 4839"/>
            </a:avLst>
          </a:prstGeom>
          <a:solidFill>
            <a:srgbClr val="FFFFFF"/>
          </a:solidFill>
          <a:ln w="76200" cap="sq">
            <a:solidFill>
              <a:schemeClr val="accent6"/>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8615054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899A9-A0BF-450D-3B18-7FB0C29F29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CD01DE-C804-28E7-2C54-F3F093308F8C}"/>
              </a:ext>
            </a:extLst>
          </p:cNvPr>
          <p:cNvSpPr>
            <a:spLocks noGrp="1"/>
          </p:cNvSpPr>
          <p:nvPr>
            <p:ph type="title"/>
          </p:nvPr>
        </p:nvSpPr>
        <p:spPr>
          <a:xfrm>
            <a:off x="1226989" y="377826"/>
            <a:ext cx="7455051" cy="660092"/>
          </a:xfrm>
        </p:spPr>
        <p:txBody>
          <a:bodyPr anchor="ctr"/>
          <a:lstStyle/>
          <a:p>
            <a:r>
              <a:t>Texte:</a:t>
            </a:r>
          </a:p>
          <a:p>
            <a:r>
              <a:t>Amélioration de l'efficacité par l'automatisation et l'IA en 2025</a:t>
            </a:r>
          </a:p>
        </p:txBody>
      </p:sp>
      <p:sp>
        <p:nvSpPr>
          <p:cNvPr id="39" name="!!OVAL_network">
            <a:extLst>
              <a:ext uri="{FF2B5EF4-FFF2-40B4-BE49-F238E27FC236}">
                <a16:creationId xmlns:a16="http://schemas.microsoft.com/office/drawing/2014/main" id="{D9A140D1-25AC-CFCF-9732-933A0507240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45A5FBDB-08BF-1678-8380-66C150C42C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75" y="530072"/>
            <a:ext cx="355600" cy="355600"/>
          </a:xfrm>
          <a:prstGeom prst="rect">
            <a:avLst/>
          </a:prstGeom>
        </p:spPr>
      </p:pic>
      <p:sp>
        <p:nvSpPr>
          <p:cNvPr id="4" name="Text Placeholder 4">
            <a:extLst>
              <a:ext uri="{FF2B5EF4-FFF2-40B4-BE49-F238E27FC236}">
                <a16:creationId xmlns:a16="http://schemas.microsoft.com/office/drawing/2014/main" id="{871ED60C-A761-C60A-BED0-16BF9E28DF84}"/>
              </a:ext>
            </a:extLst>
          </p:cNvPr>
          <p:cNvSpPr txBox="1">
            <a:spLocks/>
          </p:cNvSpPr>
          <p:nvPr/>
        </p:nvSpPr>
        <p:spPr>
          <a:xfrm>
            <a:off x="151793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1</a:t>
            </a:r>
          </a:p>
          <a:p>
            <a:r>
              <a:t>Élargir la feuille de route FRIDA, en s'appuyant sur la prédiction MVP2 de la dégradation de la qualité du signal P2P pour aborder la détection des anomalies, le diagnostic, les prochaines meilleures actions et le triage, l'exploration de la vérification et de l'envoi.</a:t>
            </a:r>
          </a:p>
        </p:txBody>
      </p:sp>
      <p:sp>
        <p:nvSpPr>
          <p:cNvPr id="6" name="Text Placeholder 4">
            <a:extLst>
              <a:ext uri="{FF2B5EF4-FFF2-40B4-BE49-F238E27FC236}">
                <a16:creationId xmlns:a16="http://schemas.microsoft.com/office/drawing/2014/main" id="{AFA98541-0AC8-4445-EAD8-3E8841CED21C}"/>
              </a:ext>
            </a:extLst>
          </p:cNvPr>
          <p:cNvSpPr txBox="1">
            <a:spLocks/>
          </p:cNvSpPr>
          <p:nvPr/>
        </p:nvSpPr>
        <p:spPr>
          <a:xfrm>
            <a:off x="362988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2</a:t>
            </a:r>
          </a:p>
          <a:p>
            <a:r>
              <a:t>Livrer le premier MVP pour NOC : filtrage des alertes de transmission dorsale</a:t>
            </a:r>
          </a:p>
        </p:txBody>
      </p:sp>
      <p:sp>
        <p:nvSpPr>
          <p:cNvPr id="7" name="Text Placeholder 4">
            <a:extLst>
              <a:ext uri="{FF2B5EF4-FFF2-40B4-BE49-F238E27FC236}">
                <a16:creationId xmlns:a16="http://schemas.microsoft.com/office/drawing/2014/main" id="{8E94ADA8-292C-C796-345B-80D0D5EA89CC}"/>
              </a:ext>
            </a:extLst>
          </p:cNvPr>
          <p:cNvSpPr txBox="1">
            <a:spLocks/>
          </p:cNvSpPr>
          <p:nvPr/>
        </p:nvSpPr>
        <p:spPr>
          <a:xfrm>
            <a:off x="5741825"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Définir l'ambition et la feuille de route pour le mobile, en décidant d'utiliser CSON ou d'autres outils d'automatisation alternatifs</a:t>
            </a:r>
          </a:p>
        </p:txBody>
      </p:sp>
    </p:spTree>
    <p:extLst>
      <p:ext uri="{BB962C8B-B14F-4D97-AF65-F5344CB8AC3E}">
        <p14:creationId xmlns:p14="http://schemas.microsoft.com/office/powerpoint/2010/main" val="1401191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877BB-8CAC-E29F-F60B-C55EC256A118}"/>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E0360F06-2552-FA7A-7007-AF36ADCB7358}"/>
              </a:ext>
            </a:extLst>
          </p:cNvPr>
          <p:cNvSpPr/>
          <p:nvPr/>
        </p:nvSpPr>
        <p:spPr>
          <a:xfrm>
            <a:off x="460375" y="450850"/>
            <a:ext cx="8221665" cy="4244975"/>
          </a:xfrm>
          <a:prstGeom prst="roundRect">
            <a:avLst>
              <a:gd name="adj" fmla="val 2317"/>
            </a:avLst>
          </a:prstGeom>
          <a:gradFill flip="none" rotWithShape="1">
            <a:gsLst>
              <a:gs pos="20000">
                <a:schemeClr val="bg1"/>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A804516A-4868-D315-FF31-5C4C0F1E7D07}"/>
              </a:ext>
            </a:extLst>
          </p:cNvPr>
          <p:cNvSpPr>
            <a:spLocks noGrp="1"/>
          </p:cNvSpPr>
          <p:nvPr>
            <p:ph type="title"/>
          </p:nvPr>
        </p:nvSpPr>
        <p:spPr>
          <a:xfrm>
            <a:off x="3855555" y="1319206"/>
            <a:ext cx="4826485" cy="660092"/>
          </a:xfrm>
        </p:spPr>
        <p:txBody>
          <a:bodyPr/>
          <a:lstStyle/>
          <a:p>
            <a:r>
              <a:t>Texte :</a:t>
            </a:r>
          </a:p>
          <a:p>
            <a:r>
              <a:t>Que signifie NASA ?</a:t>
            </a:r>
          </a:p>
        </p:txBody>
      </p:sp>
      <p:sp>
        <p:nvSpPr>
          <p:cNvPr id="4" name="Title 1">
            <a:extLst>
              <a:ext uri="{FF2B5EF4-FFF2-40B4-BE49-F238E27FC236}">
                <a16:creationId xmlns:a16="http://schemas.microsoft.com/office/drawing/2014/main" id="{E8D34B4A-6486-3D6C-7CF0-6697440ADB10}"/>
              </a:ext>
            </a:extLst>
          </p:cNvPr>
          <p:cNvSpPr txBox="1">
            <a:spLocks/>
          </p:cNvSpPr>
          <p:nvPr/>
        </p:nvSpPr>
        <p:spPr>
          <a:xfrm>
            <a:off x="3855555" y="2045800"/>
            <a:ext cx="4253730"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Stratégie d'Application Réseau &amp; IA</a:t>
            </a:r>
          </a:p>
          <a:p>
            <a:r>
              <a:t>Stratégie IA Réseau &amp; Applications</a:t>
            </a:r>
          </a:p>
          <a:p>
            <a:r>
              <a:t>Solution d'Action Réseau &amp; Apple</a:t>
            </a:r>
          </a:p>
          <a:p>
            <a:r>
              <a:t>Solutions IA Réseau &amp; Applications</a:t>
            </a:r>
          </a:p>
        </p:txBody>
      </p:sp>
      <p:grpSp>
        <p:nvGrpSpPr>
          <p:cNvPr id="5" name="Group 4">
            <a:extLst>
              <a:ext uri="{FF2B5EF4-FFF2-40B4-BE49-F238E27FC236}">
                <a16:creationId xmlns:a16="http://schemas.microsoft.com/office/drawing/2014/main" id="{EDB5CCBB-9ED0-8F3F-5F15-A896C8F10ECD}"/>
              </a:ext>
            </a:extLst>
          </p:cNvPr>
          <p:cNvGrpSpPr/>
          <p:nvPr/>
        </p:nvGrpSpPr>
        <p:grpSpPr>
          <a:xfrm>
            <a:off x="1034715" y="1330467"/>
            <a:ext cx="2376000" cy="2850482"/>
            <a:chOff x="1034715" y="1437623"/>
            <a:chExt cx="2376000" cy="2850482"/>
          </a:xfrm>
        </p:grpSpPr>
        <p:sp>
          <p:nvSpPr>
            <p:cNvPr id="6" name="Rounded Rectangle 5">
              <a:extLst>
                <a:ext uri="{FF2B5EF4-FFF2-40B4-BE49-F238E27FC236}">
                  <a16:creationId xmlns:a16="http://schemas.microsoft.com/office/drawing/2014/main" id="{C0B212FF-019B-6CE9-6E5A-D232EB94ECF4}"/>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D33B4153-2530-6E88-83D7-2070650EBA88}"/>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7172C29E-B398-F9E2-70DF-7E05A6D6C449}"/>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6DF3AAEF-A0A1-7C39-A6C2-25795C30604E}"/>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7994AD1E-CABA-4E9E-149A-6548E6404813}"/>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123AB722-24F2-3C60-F756-0BC3CE545573}"/>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889445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A2413864-C541-A6B1-5071-C15D6DC84F7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6D4736D-C4C4-0A40-B2B3-8A52DDDF2557}"/>
              </a:ext>
            </a:extLst>
          </p:cNvPr>
          <p:cNvSpPr txBox="1"/>
          <p:nvPr/>
        </p:nvSpPr>
        <p:spPr>
          <a:xfrm>
            <a:off x="8054578" y="6004321"/>
            <a:ext cx="914400" cy="914400"/>
          </a:xfrm>
          <a:prstGeom prst="rect">
            <a:avLst/>
          </a:prstGeom>
        </p:spPr>
        <p:txBody>
          <a:bodyPr vert="horz" wrap="square" lIns="0" tIns="0" rIns="0" bIns="0" numCol="1" spcCol="0" rtlCol="0" anchor="t" anchorCtr="0">
            <a:noAutofit/>
          </a:bodyPr>
          <a:lstStyle/>
          <a:p>
            <a:pPr algn="l"/>
            <a:endParaRPr lang="en-GB"/>
          </a:p>
        </p:txBody>
      </p:sp>
      <p:sp>
        <p:nvSpPr>
          <p:cNvPr id="11" name="Title 10">
            <a:extLst>
              <a:ext uri="{FF2B5EF4-FFF2-40B4-BE49-F238E27FC236}">
                <a16:creationId xmlns:a16="http://schemas.microsoft.com/office/drawing/2014/main" id="{19085727-677D-DABF-C269-6883FDF66725}"/>
              </a:ext>
            </a:extLst>
          </p:cNvPr>
          <p:cNvSpPr>
            <a:spLocks noGrp="1"/>
          </p:cNvSpPr>
          <p:nvPr>
            <p:ph type="title"/>
          </p:nvPr>
        </p:nvSpPr>
        <p:spPr>
          <a:xfrm>
            <a:off x="460377" y="377826"/>
            <a:ext cx="2008503" cy="1941512"/>
          </a:xfrm>
        </p:spPr>
        <p:txBody>
          <a:bodyPr>
            <a:noAutofit/>
          </a:bodyPr>
          <a:lstStyle/>
          <a:p>
            <a:r>
              <a:t>Texte :</a:t>
            </a:r>
          </a:p>
          <a:p>
            <a:r>
              <a:t>Au menu d'aujourd'hui</a:t>
            </a:r>
          </a:p>
        </p:txBody>
      </p:sp>
      <p:graphicFrame>
        <p:nvGraphicFramePr>
          <p:cNvPr id="13" name="Table 9">
            <a:extLst>
              <a:ext uri="{FF2B5EF4-FFF2-40B4-BE49-F238E27FC236}">
                <a16:creationId xmlns:a16="http://schemas.microsoft.com/office/drawing/2014/main" id="{AE1D8256-40E9-4D37-388E-E5A2B6E850FA}"/>
              </a:ext>
            </a:extLst>
          </p:cNvPr>
          <p:cNvGraphicFramePr>
            <a:graphicFrameLocks noGrp="1"/>
          </p:cNvGraphicFramePr>
          <p:nvPr>
            <p:ph type="tbl" sz="quarter" idx="10"/>
            <p:extLst>
              <p:ext uri="{D42A27DB-BD31-4B8C-83A1-F6EECF244321}">
                <p14:modId xmlns:p14="http://schemas.microsoft.com/office/powerpoint/2010/main" val="2975295971"/>
              </p:ext>
            </p:extLst>
          </p:nvPr>
        </p:nvGraphicFramePr>
        <p:xfrm>
          <a:off x="4572000" y="1057475"/>
          <a:ext cx="4108450" cy="3048000"/>
        </p:xfrm>
        <a:graphic>
          <a:graphicData uri="http://schemas.openxmlformats.org/drawingml/2006/table">
            <a:tbl>
              <a:tblPr firstRow="1" bandRow="1">
                <a:tableStyleId>{5C22544A-7EE6-4342-B048-85BDC9FD1C3A}</a:tableStyleId>
              </a:tblPr>
              <a:tblGrid>
                <a:gridCol w="597629">
                  <a:extLst>
                    <a:ext uri="{9D8B030D-6E8A-4147-A177-3AD203B41FA5}">
                      <a16:colId xmlns:a16="http://schemas.microsoft.com/office/drawing/2014/main" val="2834600042"/>
                    </a:ext>
                  </a:extLst>
                </a:gridCol>
                <a:gridCol w="3510821">
                  <a:extLst>
                    <a:ext uri="{9D8B030D-6E8A-4147-A177-3AD203B41FA5}">
                      <a16:colId xmlns:a16="http://schemas.microsoft.com/office/drawing/2014/main" val="3220776713"/>
                    </a:ext>
                  </a:extLst>
                </a:gridCol>
              </a:tblGrid>
              <a:tr h="609600">
                <a:tc>
                  <a:txBody>
                    <a:bodyPr/>
                    <a:lstStyle/>
                    <a:p>
                      <a:pPr algn="r"/>
                      <a:r>
                        <a:rPr lang="en-BE" sz="2400">
                          <a:solidFill>
                            <a:srgbClr val="2A2234"/>
                          </a:solidFill>
                          <a:latin typeface="Proximus ExtraBold"/>
                        </a:rPr>
                        <a:t>1.</a:t>
                      </a:r>
                      <a:endParaRPr lang="en-GB" sz="2400">
                        <a:solidFill>
                          <a:srgbClr val="2A2234"/>
                        </a:solidFill>
                        <a:latin typeface="Proximus ExtraBold" panose="00000900000000000000" pitchFamily="2"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Welco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6677693"/>
                  </a:ext>
                </a:extLst>
              </a:tr>
              <a:tr h="609600">
                <a:tc>
                  <a:txBody>
                    <a:bodyPr/>
                    <a:lstStyle/>
                    <a:p>
                      <a:pPr algn="r"/>
                      <a:r>
                        <a:rPr lang="en-BE" sz="2400">
                          <a:solidFill>
                            <a:srgbClr val="2A2234"/>
                          </a:solidFill>
                          <a:latin typeface="Proximus ExtraBold"/>
                        </a:rPr>
                        <a:t>2.</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NBU 4.0 Part 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3420335"/>
                  </a:ext>
                </a:extLst>
              </a:tr>
              <a:tr h="609600">
                <a:tc>
                  <a:txBody>
                    <a:bodyPr/>
                    <a:lstStyle/>
                    <a:p>
                      <a:pPr algn="r"/>
                      <a:r>
                        <a:rPr lang="en-BE" sz="2400">
                          <a:solidFill>
                            <a:srgbClr val="2A2234"/>
                          </a:solidFill>
                          <a:latin typeface="Proximus ExtraBold"/>
                        </a:rPr>
                        <a:t>3.</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Rebel </a:t>
                      </a:r>
                      <a:r>
                        <a:rPr lang="en-GB" sz="2000" b="0" err="1">
                          <a:solidFill>
                            <a:srgbClr val="2A2234"/>
                          </a:solidFill>
                          <a:latin typeface="Proximus Light"/>
                        </a:rPr>
                        <a:t>Rebel</a:t>
                      </a:r>
                      <a:r>
                        <a:rPr lang="en-GB" sz="2000" b="0">
                          <a:solidFill>
                            <a:srgbClr val="2A2234"/>
                          </a:solidFill>
                          <a:latin typeface="Proximus Light"/>
                        </a:rPr>
                        <a:t> </a:t>
                      </a:r>
                      <a:r>
                        <a:rPr lang="en-GB" sz="1100" b="0">
                          <a:solidFill>
                            <a:srgbClr val="2A2234"/>
                          </a:solidFill>
                          <a:latin typeface="Proximus Light"/>
                        </a:rPr>
                        <a:t>by Geert Van Mo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6046380"/>
                  </a:ext>
                </a:extLst>
              </a:tr>
              <a:tr h="609600">
                <a:tc>
                  <a:txBody>
                    <a:bodyPr/>
                    <a:lstStyle/>
                    <a:p>
                      <a:pPr algn="r"/>
                      <a:r>
                        <a:rPr lang="en-BE" sz="2400">
                          <a:solidFill>
                            <a:srgbClr val="2A2234"/>
                          </a:solidFill>
                          <a:latin typeface="Proximus ExtraBold"/>
                        </a:rPr>
                        <a:t>4.</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NBU 4.0 Part 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3467824"/>
                  </a:ext>
                </a:extLst>
              </a:tr>
              <a:tr h="609600">
                <a:tc>
                  <a:txBody>
                    <a:bodyPr/>
                    <a:lstStyle/>
                    <a:p>
                      <a:pPr algn="r"/>
                      <a:r>
                        <a:rPr lang="en-BE" sz="2400">
                          <a:solidFill>
                            <a:srgbClr val="2A2234"/>
                          </a:solidFill>
                          <a:latin typeface="Proximus ExtraBold"/>
                        </a:rPr>
                        <a:t>5.</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Q&amp;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34480"/>
                  </a:ext>
                </a:extLst>
              </a:tr>
            </a:tbl>
          </a:graphicData>
        </a:graphic>
      </p:graphicFrame>
      <p:pic>
        <p:nvPicPr>
          <p:cNvPr id="2" name="Graphic 1">
            <a:extLst>
              <a:ext uri="{FF2B5EF4-FFF2-40B4-BE49-F238E27FC236}">
                <a16:creationId xmlns:a16="http://schemas.microsoft.com/office/drawing/2014/main" id="{53F0D672-6431-5077-1961-60DF169D9DAD}"/>
              </a:ext>
            </a:extLst>
          </p:cNvPr>
          <p:cNvPicPr>
            <a:picLocks noChangeAspect="1"/>
          </p:cNvPicPr>
          <p:nvPr/>
        </p:nvPicPr>
        <p:blipFill>
          <a:blip r:embed="rId3"/>
          <a:srcRect/>
          <a:stretch/>
        </p:blipFill>
        <p:spPr>
          <a:xfrm rot="14253325">
            <a:off x="-4049585" y="-4190508"/>
            <a:ext cx="8099170" cy="9282716"/>
          </a:xfrm>
          <a:prstGeom prst="rect">
            <a:avLst/>
          </a:prstGeom>
          <a:noFill/>
        </p:spPr>
      </p:pic>
    </p:spTree>
    <p:extLst>
      <p:ext uri="{BB962C8B-B14F-4D97-AF65-F5344CB8AC3E}">
        <p14:creationId xmlns:p14="http://schemas.microsoft.com/office/powerpoint/2010/main" val="39321443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672F8-B1CD-9452-81D2-20F48E9C45C2}"/>
            </a:ext>
          </a:extLst>
        </p:cNvPr>
        <p:cNvGrpSpPr/>
        <p:nvPr/>
      </p:nvGrpSpPr>
      <p:grpSpPr>
        <a:xfrm>
          <a:off x="0" y="0"/>
          <a:ext cx="0" cy="0"/>
          <a:chOff x="0" y="0"/>
          <a:chExt cx="0" cy="0"/>
        </a:xfrm>
      </p:grpSpPr>
      <p:pic>
        <p:nvPicPr>
          <p:cNvPr id="4" name="Graphic 3">
            <a:extLst>
              <a:ext uri="{FF2B5EF4-FFF2-40B4-BE49-F238E27FC236}">
                <a16:creationId xmlns:a16="http://schemas.microsoft.com/office/drawing/2014/main" id="{F40BE4EC-EBFE-783C-16A9-B0AED27B5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2285100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AB1AD-93C8-07F9-7F68-E902028C75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B872CA-4700-0D7D-D45D-2D0F55E54AE9}"/>
              </a:ext>
            </a:extLst>
          </p:cNvPr>
          <p:cNvSpPr>
            <a:spLocks noGrp="1"/>
          </p:cNvSpPr>
          <p:nvPr>
            <p:ph type="title"/>
          </p:nvPr>
        </p:nvSpPr>
        <p:spPr>
          <a:xfrm>
            <a:off x="1226989" y="377826"/>
            <a:ext cx="3639463" cy="660092"/>
          </a:xfrm>
        </p:spPr>
        <p:txBody>
          <a:bodyPr anchor="ctr"/>
          <a:lstStyle/>
          <a:p>
            <a:r>
              <a:t>Texte :</a:t>
            </a:r>
          </a:p>
          <a:p>
            <a:r>
              <a:t>Coupure du cuivre</a:t>
            </a:r>
          </a:p>
        </p:txBody>
      </p:sp>
      <p:sp>
        <p:nvSpPr>
          <p:cNvPr id="39" name="!!OVAL_network">
            <a:extLst>
              <a:ext uri="{FF2B5EF4-FFF2-40B4-BE49-F238E27FC236}">
                <a16:creationId xmlns:a16="http://schemas.microsoft.com/office/drawing/2014/main" id="{2E547B44-6DA1-3547-98B8-562EFD9875B4}"/>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F14367CD-2EE1-19AE-8FAE-0A3B4FDB2E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Text Placeholder 4">
            <a:extLst>
              <a:ext uri="{FF2B5EF4-FFF2-40B4-BE49-F238E27FC236}">
                <a16:creationId xmlns:a16="http://schemas.microsoft.com/office/drawing/2014/main" id="{A7D0A014-E10F-4052-68D7-98756EE8567A}"/>
              </a:ext>
            </a:extLst>
          </p:cNvPr>
          <p:cNvSpPr txBox="1">
            <a:spLocks/>
          </p:cNvSpPr>
          <p:nvPr/>
        </p:nvSpPr>
        <p:spPr>
          <a:xfrm>
            <a:off x="7234943" y="2545305"/>
            <a:ext cx="1447087" cy="1008000"/>
          </a:xfrm>
          <a:prstGeom prst="roundRect">
            <a:avLst>
              <a:gd name="adj" fmla="val 13164"/>
            </a:avLst>
          </a:prstGeom>
          <a:solidFill>
            <a:schemeClr val="tx1"/>
          </a:solidFill>
          <a:effectLst>
            <a:outerShdw blurRad="508000" dist="38100" dir="5400000" algn="t" rotWithShape="0">
              <a:prstClr val="black">
                <a:alpha val="15000"/>
              </a:prstClr>
            </a:outerShdw>
          </a:effectLst>
        </p:spPr>
        <p:txBody>
          <a:bodyPr lIns="180000" tIns="180000" rIns="180000" bIns="180000" anchor="t" anchorCtr="0"/>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Migration</a:t>
            </a:r>
          </a:p>
        </p:txBody>
      </p:sp>
      <p:sp>
        <p:nvSpPr>
          <p:cNvPr id="17" name="Text Placeholder 4">
            <a:extLst>
              <a:ext uri="{FF2B5EF4-FFF2-40B4-BE49-F238E27FC236}">
                <a16:creationId xmlns:a16="http://schemas.microsoft.com/office/drawing/2014/main" id="{F7C70D8E-224D-DAF2-E6FE-D0F79E88712A}"/>
              </a:ext>
            </a:extLst>
          </p:cNvPr>
          <p:cNvSpPr txBox="1">
            <a:spLocks/>
          </p:cNvSpPr>
          <p:nvPr/>
        </p:nvSpPr>
        <p:spPr>
          <a:xfrm>
            <a:off x="5616639" y="2545305"/>
            <a:ext cx="1465466" cy="1008000"/>
          </a:xfrm>
          <a:prstGeom prst="roundRect">
            <a:avLst>
              <a:gd name="adj" fmla="val 12999"/>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Simplification</a:t>
            </a:r>
          </a:p>
        </p:txBody>
      </p:sp>
      <p:sp>
        <p:nvSpPr>
          <p:cNvPr id="69" name="Text Placeholder 4">
            <a:extLst>
              <a:ext uri="{FF2B5EF4-FFF2-40B4-BE49-F238E27FC236}">
                <a16:creationId xmlns:a16="http://schemas.microsoft.com/office/drawing/2014/main" id="{8CB6343F-9EDE-A9FB-33CD-B38EA172B4DC}"/>
              </a:ext>
            </a:extLst>
          </p:cNvPr>
          <p:cNvSpPr txBox="1">
            <a:spLocks/>
          </p:cNvSpPr>
          <p:nvPr/>
        </p:nvSpPr>
        <p:spPr>
          <a:xfrm>
            <a:off x="7238678" y="3692048"/>
            <a:ext cx="1441772" cy="1008000"/>
          </a:xfrm>
          <a:prstGeom prst="roundRect">
            <a:avLst>
              <a:gd name="adj" fmla="val 13213"/>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Gestion de l'obsolescence</a:t>
            </a:r>
          </a:p>
        </p:txBody>
      </p:sp>
      <p:sp>
        <p:nvSpPr>
          <p:cNvPr id="6" name="AutoShape 8" descr="13,261 Costs Icon Euro Royalty-Free Photos and Stock Images | Shutterstock">
            <a:extLst>
              <a:ext uri="{FF2B5EF4-FFF2-40B4-BE49-F238E27FC236}">
                <a16:creationId xmlns:a16="http://schemas.microsoft.com/office/drawing/2014/main" id="{054056F2-2FF8-9B4C-09A0-B407B20C5AB7}"/>
              </a:ext>
            </a:extLst>
          </p:cNvPr>
          <p:cNvSpPr>
            <a:spLocks noChangeAspect="1" noChangeArrowheads="1"/>
          </p:cNvSpPr>
          <p:nvPr/>
        </p:nvSpPr>
        <p:spPr bwMode="auto">
          <a:xfrm>
            <a:off x="4429566" y="2464282"/>
            <a:ext cx="284486" cy="2844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55641623-B134-D9FD-83EA-B4DC7531231F}"/>
              </a:ext>
            </a:extLst>
          </p:cNvPr>
          <p:cNvSpPr txBox="1"/>
          <p:nvPr/>
        </p:nvSpPr>
        <p:spPr>
          <a:xfrm>
            <a:off x="490391" y="1343130"/>
            <a:ext cx="4729435" cy="184666"/>
          </a:xfrm>
          <a:prstGeom prst="rect">
            <a:avLst/>
          </a:prstGeom>
          <a:noFill/>
        </p:spPr>
        <p:txBody>
          <a:bodyPr wrap="square" lIns="0" tIns="0" rIns="0" bIns="0" rtlCol="0" anchor="t">
            <a:spAutoFit/>
          </a:bodyPr>
          <a:lstStyle/>
          <a:p>
            <a:r>
              <a:t>Texte :</a:t>
            </a:r>
          </a:p>
          <a:p>
            <a:r>
              <a:t>Infrastructure en cuivre désaffectée (#ROP/année)</a:t>
            </a:r>
          </a:p>
        </p:txBody>
      </p:sp>
      <p:sp>
        <p:nvSpPr>
          <p:cNvPr id="14" name="Freeform 43">
            <a:extLst>
              <a:ext uri="{FF2B5EF4-FFF2-40B4-BE49-F238E27FC236}">
                <a16:creationId xmlns:a16="http://schemas.microsoft.com/office/drawing/2014/main" id="{4C6F5AFB-076E-CBFF-2E96-F077CFD62E87}"/>
              </a:ext>
            </a:extLst>
          </p:cNvPr>
          <p:cNvSpPr/>
          <p:nvPr/>
        </p:nvSpPr>
        <p:spPr>
          <a:xfrm>
            <a:off x="1108375" y="2238360"/>
            <a:ext cx="4339005" cy="2062789"/>
          </a:xfrm>
          <a:custGeom>
            <a:avLst/>
            <a:gdLst>
              <a:gd name="connsiteX0" fmla="*/ -1407 w 2434675"/>
              <a:gd name="connsiteY0" fmla="*/ 1076500 h 1157459"/>
              <a:gd name="connsiteX1" fmla="*/ 77918 w 2434675"/>
              <a:gd name="connsiteY1" fmla="*/ 1076500 h 1157459"/>
              <a:gd name="connsiteX2" fmla="*/ 77918 w 2434675"/>
              <a:gd name="connsiteY2" fmla="*/ 1156879 h 1157459"/>
              <a:gd name="connsiteX3" fmla="*/ -1407 w 2434675"/>
              <a:gd name="connsiteY3" fmla="*/ 1156879 h 1157459"/>
              <a:gd name="connsiteX4" fmla="*/ 157244 w 2434675"/>
              <a:gd name="connsiteY4" fmla="*/ 996121 h 1157459"/>
              <a:gd name="connsiteX5" fmla="*/ 236569 w 2434675"/>
              <a:gd name="connsiteY5" fmla="*/ 996121 h 1157459"/>
              <a:gd name="connsiteX6" fmla="*/ 236569 w 2434675"/>
              <a:gd name="connsiteY6" fmla="*/ 1156879 h 1157459"/>
              <a:gd name="connsiteX7" fmla="*/ 157244 w 2434675"/>
              <a:gd name="connsiteY7" fmla="*/ 1156879 h 1157459"/>
              <a:gd name="connsiteX8" fmla="*/ 315894 w 2434675"/>
              <a:gd name="connsiteY8" fmla="*/ 803211 h 1157459"/>
              <a:gd name="connsiteX9" fmla="*/ 389117 w 2434675"/>
              <a:gd name="connsiteY9" fmla="*/ 803211 h 1157459"/>
              <a:gd name="connsiteX10" fmla="*/ 389117 w 2434675"/>
              <a:gd name="connsiteY10" fmla="*/ 1156879 h 1157459"/>
              <a:gd name="connsiteX11" fmla="*/ 315894 w 2434675"/>
              <a:gd name="connsiteY11" fmla="*/ 1156879 h 1157459"/>
              <a:gd name="connsiteX12" fmla="*/ 468443 w 2434675"/>
              <a:gd name="connsiteY12" fmla="*/ 679963 h 1157459"/>
              <a:gd name="connsiteX13" fmla="*/ 547768 w 2434675"/>
              <a:gd name="connsiteY13" fmla="*/ 679963 h 1157459"/>
              <a:gd name="connsiteX14" fmla="*/ 547768 w 2434675"/>
              <a:gd name="connsiteY14" fmla="*/ 1156879 h 1157459"/>
              <a:gd name="connsiteX15" fmla="*/ 468443 w 2434675"/>
              <a:gd name="connsiteY15" fmla="*/ 1156879 h 1157459"/>
              <a:gd name="connsiteX16" fmla="*/ 627093 w 2434675"/>
              <a:gd name="connsiteY16" fmla="*/ 696038 h 1157459"/>
              <a:gd name="connsiteX17" fmla="*/ 706419 w 2434675"/>
              <a:gd name="connsiteY17" fmla="*/ 696038 h 1157459"/>
              <a:gd name="connsiteX18" fmla="*/ 706419 w 2434675"/>
              <a:gd name="connsiteY18" fmla="*/ 1156879 h 1157459"/>
              <a:gd name="connsiteX19" fmla="*/ 627093 w 2434675"/>
              <a:gd name="connsiteY19" fmla="*/ 1156879 h 1157459"/>
              <a:gd name="connsiteX20" fmla="*/ 785744 w 2434675"/>
              <a:gd name="connsiteY20" fmla="*/ 642452 h 1157459"/>
              <a:gd name="connsiteX21" fmla="*/ 865069 w 2434675"/>
              <a:gd name="connsiteY21" fmla="*/ 642452 h 1157459"/>
              <a:gd name="connsiteX22" fmla="*/ 865069 w 2434675"/>
              <a:gd name="connsiteY22" fmla="*/ 1156879 h 1157459"/>
              <a:gd name="connsiteX23" fmla="*/ 785744 w 2434675"/>
              <a:gd name="connsiteY23" fmla="*/ 1156879 h 1157459"/>
              <a:gd name="connsiteX24" fmla="*/ 944394 w 2434675"/>
              <a:gd name="connsiteY24" fmla="*/ 331653 h 1157459"/>
              <a:gd name="connsiteX25" fmla="*/ 1023720 w 2434675"/>
              <a:gd name="connsiteY25" fmla="*/ 331653 h 1157459"/>
              <a:gd name="connsiteX26" fmla="*/ 1023720 w 2434675"/>
              <a:gd name="connsiteY26" fmla="*/ 1156879 h 1157459"/>
              <a:gd name="connsiteX27" fmla="*/ 944394 w 2434675"/>
              <a:gd name="connsiteY27" fmla="*/ 1156879 h 1157459"/>
              <a:gd name="connsiteX28" fmla="*/ 1096943 w 2434675"/>
              <a:gd name="connsiteY28" fmla="*/ 331653 h 1157459"/>
              <a:gd name="connsiteX29" fmla="*/ 1176268 w 2434675"/>
              <a:gd name="connsiteY29" fmla="*/ 331653 h 1157459"/>
              <a:gd name="connsiteX30" fmla="*/ 1176268 w 2434675"/>
              <a:gd name="connsiteY30" fmla="*/ 1156879 h 1157459"/>
              <a:gd name="connsiteX31" fmla="*/ 1096943 w 2434675"/>
              <a:gd name="connsiteY31" fmla="*/ 1156879 h 1157459"/>
              <a:gd name="connsiteX32" fmla="*/ 1255593 w 2434675"/>
              <a:gd name="connsiteY32" fmla="*/ 417391 h 1157459"/>
              <a:gd name="connsiteX33" fmla="*/ 1334919 w 2434675"/>
              <a:gd name="connsiteY33" fmla="*/ 417391 h 1157459"/>
              <a:gd name="connsiteX34" fmla="*/ 1334919 w 2434675"/>
              <a:gd name="connsiteY34" fmla="*/ 1156879 h 1157459"/>
              <a:gd name="connsiteX35" fmla="*/ 1255593 w 2434675"/>
              <a:gd name="connsiteY35" fmla="*/ 1156879 h 1157459"/>
              <a:gd name="connsiteX36" fmla="*/ 1414244 w 2434675"/>
              <a:gd name="connsiteY36" fmla="*/ -581 h 1157459"/>
              <a:gd name="connsiteX37" fmla="*/ 1493569 w 2434675"/>
              <a:gd name="connsiteY37" fmla="*/ -581 h 1157459"/>
              <a:gd name="connsiteX38" fmla="*/ 1493569 w 2434675"/>
              <a:gd name="connsiteY38" fmla="*/ 1156879 h 1157459"/>
              <a:gd name="connsiteX39" fmla="*/ 1414244 w 2434675"/>
              <a:gd name="connsiteY39" fmla="*/ 1156879 h 1157459"/>
              <a:gd name="connsiteX40" fmla="*/ 1572895 w 2434675"/>
              <a:gd name="connsiteY40" fmla="*/ 412032 h 1157459"/>
              <a:gd name="connsiteX41" fmla="*/ 1652220 w 2434675"/>
              <a:gd name="connsiteY41" fmla="*/ 412032 h 1157459"/>
              <a:gd name="connsiteX42" fmla="*/ 1652220 w 2434675"/>
              <a:gd name="connsiteY42" fmla="*/ 1156879 h 1157459"/>
              <a:gd name="connsiteX43" fmla="*/ 1572895 w 2434675"/>
              <a:gd name="connsiteY43" fmla="*/ 1156879 h 1157459"/>
              <a:gd name="connsiteX44" fmla="*/ 1731545 w 2434675"/>
              <a:gd name="connsiteY44" fmla="*/ 492411 h 1157459"/>
              <a:gd name="connsiteX45" fmla="*/ 1804768 w 2434675"/>
              <a:gd name="connsiteY45" fmla="*/ 492411 h 1157459"/>
              <a:gd name="connsiteX46" fmla="*/ 1804768 w 2434675"/>
              <a:gd name="connsiteY46" fmla="*/ 1156879 h 1157459"/>
              <a:gd name="connsiteX47" fmla="*/ 1731545 w 2434675"/>
              <a:gd name="connsiteY47" fmla="*/ 1156879 h 1157459"/>
              <a:gd name="connsiteX48" fmla="*/ 1884094 w 2434675"/>
              <a:gd name="connsiteY48" fmla="*/ 744266 h 1157459"/>
              <a:gd name="connsiteX49" fmla="*/ 1963419 w 2434675"/>
              <a:gd name="connsiteY49" fmla="*/ 744266 h 1157459"/>
              <a:gd name="connsiteX50" fmla="*/ 1963419 w 2434675"/>
              <a:gd name="connsiteY50" fmla="*/ 1156879 h 1157459"/>
              <a:gd name="connsiteX51" fmla="*/ 1884094 w 2434675"/>
              <a:gd name="connsiteY51" fmla="*/ 1156879 h 1157459"/>
              <a:gd name="connsiteX52" fmla="*/ 2042744 w 2434675"/>
              <a:gd name="connsiteY52" fmla="*/ 679963 h 1157459"/>
              <a:gd name="connsiteX53" fmla="*/ 2122070 w 2434675"/>
              <a:gd name="connsiteY53" fmla="*/ 679963 h 1157459"/>
              <a:gd name="connsiteX54" fmla="*/ 2122070 w 2434675"/>
              <a:gd name="connsiteY54" fmla="*/ 1156879 h 1157459"/>
              <a:gd name="connsiteX55" fmla="*/ 2042744 w 2434675"/>
              <a:gd name="connsiteY55" fmla="*/ 1156879 h 1157459"/>
              <a:gd name="connsiteX56" fmla="*/ 2201395 w 2434675"/>
              <a:gd name="connsiteY56" fmla="*/ 701397 h 1157459"/>
              <a:gd name="connsiteX57" fmla="*/ 2280720 w 2434675"/>
              <a:gd name="connsiteY57" fmla="*/ 701397 h 1157459"/>
              <a:gd name="connsiteX58" fmla="*/ 2280720 w 2434675"/>
              <a:gd name="connsiteY58" fmla="*/ 1156879 h 1157459"/>
              <a:gd name="connsiteX59" fmla="*/ 2201395 w 2434675"/>
              <a:gd name="connsiteY59" fmla="*/ 1156879 h 1157459"/>
              <a:gd name="connsiteX60" fmla="*/ 2360045 w 2434675"/>
              <a:gd name="connsiteY60" fmla="*/ 1092576 h 1157459"/>
              <a:gd name="connsiteX61" fmla="*/ 2433269 w 2434675"/>
              <a:gd name="connsiteY61" fmla="*/ 1092576 h 1157459"/>
              <a:gd name="connsiteX62" fmla="*/ 2433269 w 2434675"/>
              <a:gd name="connsiteY62" fmla="*/ 1156879 h 1157459"/>
              <a:gd name="connsiteX63" fmla="*/ 2360045 w 2434675"/>
              <a:gd name="connsiteY63" fmla="*/ 1156879 h 11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434675" h="1157459">
                <a:moveTo>
                  <a:pt x="-1407" y="1076500"/>
                </a:moveTo>
                <a:lnTo>
                  <a:pt x="77918" y="1076500"/>
                </a:lnTo>
                <a:lnTo>
                  <a:pt x="77918" y="1156879"/>
                </a:lnTo>
                <a:lnTo>
                  <a:pt x="-1407" y="1156879"/>
                </a:lnTo>
                <a:close/>
                <a:moveTo>
                  <a:pt x="157244" y="996121"/>
                </a:moveTo>
                <a:lnTo>
                  <a:pt x="236569" y="996121"/>
                </a:lnTo>
                <a:lnTo>
                  <a:pt x="236569" y="1156879"/>
                </a:lnTo>
                <a:lnTo>
                  <a:pt x="157244" y="1156879"/>
                </a:lnTo>
                <a:close/>
                <a:moveTo>
                  <a:pt x="315894" y="803211"/>
                </a:moveTo>
                <a:lnTo>
                  <a:pt x="389117" y="803211"/>
                </a:lnTo>
                <a:lnTo>
                  <a:pt x="389117" y="1156879"/>
                </a:lnTo>
                <a:lnTo>
                  <a:pt x="315894" y="1156879"/>
                </a:lnTo>
                <a:close/>
                <a:moveTo>
                  <a:pt x="468443" y="679963"/>
                </a:moveTo>
                <a:lnTo>
                  <a:pt x="547768" y="679963"/>
                </a:lnTo>
                <a:lnTo>
                  <a:pt x="547768" y="1156879"/>
                </a:lnTo>
                <a:lnTo>
                  <a:pt x="468443" y="1156879"/>
                </a:lnTo>
                <a:close/>
                <a:moveTo>
                  <a:pt x="627093" y="696038"/>
                </a:moveTo>
                <a:lnTo>
                  <a:pt x="706419" y="696038"/>
                </a:lnTo>
                <a:lnTo>
                  <a:pt x="706419" y="1156879"/>
                </a:lnTo>
                <a:lnTo>
                  <a:pt x="627093" y="1156879"/>
                </a:lnTo>
                <a:close/>
                <a:moveTo>
                  <a:pt x="785744" y="642452"/>
                </a:moveTo>
                <a:lnTo>
                  <a:pt x="865069" y="642452"/>
                </a:lnTo>
                <a:lnTo>
                  <a:pt x="865069" y="1156879"/>
                </a:lnTo>
                <a:lnTo>
                  <a:pt x="785744" y="1156879"/>
                </a:lnTo>
                <a:close/>
                <a:moveTo>
                  <a:pt x="944394" y="331653"/>
                </a:moveTo>
                <a:lnTo>
                  <a:pt x="1023720" y="331653"/>
                </a:lnTo>
                <a:lnTo>
                  <a:pt x="1023720" y="1156879"/>
                </a:lnTo>
                <a:lnTo>
                  <a:pt x="944394" y="1156879"/>
                </a:lnTo>
                <a:close/>
                <a:moveTo>
                  <a:pt x="1096943" y="331653"/>
                </a:moveTo>
                <a:lnTo>
                  <a:pt x="1176268" y="331653"/>
                </a:lnTo>
                <a:lnTo>
                  <a:pt x="1176268" y="1156879"/>
                </a:lnTo>
                <a:lnTo>
                  <a:pt x="1096943" y="1156879"/>
                </a:lnTo>
                <a:close/>
                <a:moveTo>
                  <a:pt x="1255593" y="417391"/>
                </a:moveTo>
                <a:lnTo>
                  <a:pt x="1334919" y="417391"/>
                </a:lnTo>
                <a:lnTo>
                  <a:pt x="1334919" y="1156879"/>
                </a:lnTo>
                <a:lnTo>
                  <a:pt x="1255593" y="1156879"/>
                </a:lnTo>
                <a:close/>
                <a:moveTo>
                  <a:pt x="1414244" y="-581"/>
                </a:moveTo>
                <a:lnTo>
                  <a:pt x="1493569" y="-581"/>
                </a:lnTo>
                <a:lnTo>
                  <a:pt x="1493569" y="1156879"/>
                </a:lnTo>
                <a:lnTo>
                  <a:pt x="1414244" y="1156879"/>
                </a:lnTo>
                <a:close/>
                <a:moveTo>
                  <a:pt x="1572895" y="412032"/>
                </a:moveTo>
                <a:lnTo>
                  <a:pt x="1652220" y="412032"/>
                </a:lnTo>
                <a:lnTo>
                  <a:pt x="1652220" y="1156879"/>
                </a:lnTo>
                <a:lnTo>
                  <a:pt x="1572895" y="1156879"/>
                </a:lnTo>
                <a:close/>
                <a:moveTo>
                  <a:pt x="1731545" y="492411"/>
                </a:moveTo>
                <a:lnTo>
                  <a:pt x="1804768" y="492411"/>
                </a:lnTo>
                <a:lnTo>
                  <a:pt x="1804768" y="1156879"/>
                </a:lnTo>
                <a:lnTo>
                  <a:pt x="1731545" y="1156879"/>
                </a:lnTo>
                <a:close/>
                <a:moveTo>
                  <a:pt x="1884094" y="744266"/>
                </a:moveTo>
                <a:lnTo>
                  <a:pt x="1963419" y="744266"/>
                </a:lnTo>
                <a:lnTo>
                  <a:pt x="1963419" y="1156879"/>
                </a:lnTo>
                <a:lnTo>
                  <a:pt x="1884094" y="1156879"/>
                </a:lnTo>
                <a:close/>
                <a:moveTo>
                  <a:pt x="2042744" y="679963"/>
                </a:moveTo>
                <a:lnTo>
                  <a:pt x="2122070" y="679963"/>
                </a:lnTo>
                <a:lnTo>
                  <a:pt x="2122070" y="1156879"/>
                </a:lnTo>
                <a:lnTo>
                  <a:pt x="2042744" y="1156879"/>
                </a:lnTo>
                <a:close/>
                <a:moveTo>
                  <a:pt x="2201395" y="701397"/>
                </a:moveTo>
                <a:lnTo>
                  <a:pt x="2280720" y="701397"/>
                </a:lnTo>
                <a:lnTo>
                  <a:pt x="2280720" y="1156879"/>
                </a:lnTo>
                <a:lnTo>
                  <a:pt x="2201395" y="1156879"/>
                </a:lnTo>
                <a:close/>
                <a:moveTo>
                  <a:pt x="2360045" y="1092576"/>
                </a:moveTo>
                <a:lnTo>
                  <a:pt x="2433269" y="1092576"/>
                </a:lnTo>
                <a:lnTo>
                  <a:pt x="2433269" y="1156879"/>
                </a:lnTo>
                <a:lnTo>
                  <a:pt x="2360045" y="1156879"/>
                </a:lnTo>
                <a:close/>
              </a:path>
            </a:pathLst>
          </a:custGeom>
          <a:gradFill flip="none" rotWithShape="1">
            <a:gsLst>
              <a:gs pos="0">
                <a:schemeClr val="bg1"/>
              </a:gs>
              <a:gs pos="99000">
                <a:schemeClr val="accent2"/>
              </a:gs>
            </a:gsLst>
            <a:lin ang="16200000" scaled="1"/>
            <a:tileRect/>
          </a:gradFill>
          <a:ln w="6092" cap="flat">
            <a:noFill/>
            <a:prstDash val="solid"/>
            <a:miter/>
          </a:ln>
        </p:spPr>
        <p:txBody>
          <a:bodyPr rtlCol="0" anchor="ctr"/>
          <a:lstStyle/>
          <a:p>
            <a:endParaRPr lang="en-BE"/>
          </a:p>
        </p:txBody>
      </p:sp>
      <p:sp>
        <p:nvSpPr>
          <p:cNvPr id="15" name="TextBox 14">
            <a:extLst>
              <a:ext uri="{FF2B5EF4-FFF2-40B4-BE49-F238E27FC236}">
                <a16:creationId xmlns:a16="http://schemas.microsoft.com/office/drawing/2014/main" id="{C17FC765-2899-2579-E646-6427F759F391}"/>
              </a:ext>
            </a:extLst>
          </p:cNvPr>
          <p:cNvSpPr txBox="1"/>
          <p:nvPr/>
        </p:nvSpPr>
        <p:spPr>
          <a:xfrm>
            <a:off x="693147" y="4081022"/>
            <a:ext cx="715079" cy="153888"/>
          </a:xfrm>
          <a:prstGeom prst="rect">
            <a:avLst/>
          </a:prstGeom>
          <a:noFill/>
        </p:spPr>
        <p:txBody>
          <a:bodyPr wrap="square" lIns="0" tIns="0" rIns="0" bIns="0" rtlCol="0">
            <a:spAutoFit/>
          </a:bodyPr>
          <a:lstStyle/>
          <a:p>
            <a:r>
              <a:t>Texte:</a:t>
            </a:r>
          </a:p>
          <a:p>
            <a:r>
              <a:t>0</a:t>
            </a:r>
          </a:p>
        </p:txBody>
      </p:sp>
      <p:sp>
        <p:nvSpPr>
          <p:cNvPr id="16" name="TextBox 15">
            <a:extLst>
              <a:ext uri="{FF2B5EF4-FFF2-40B4-BE49-F238E27FC236}">
                <a16:creationId xmlns:a16="http://schemas.microsoft.com/office/drawing/2014/main" id="{072AA62B-E18A-253B-093F-CE02665DF7DD}"/>
              </a:ext>
            </a:extLst>
          </p:cNvPr>
          <p:cNvSpPr txBox="1"/>
          <p:nvPr/>
        </p:nvSpPr>
        <p:spPr>
          <a:xfrm>
            <a:off x="474840" y="3646012"/>
            <a:ext cx="1148225" cy="153888"/>
          </a:xfrm>
          <a:prstGeom prst="rect">
            <a:avLst/>
          </a:prstGeom>
          <a:noFill/>
        </p:spPr>
        <p:txBody>
          <a:bodyPr wrap="square" lIns="0" tIns="0" rIns="0" bIns="0" rtlCol="0">
            <a:spAutoFit/>
          </a:bodyPr>
          <a:lstStyle/>
          <a:p>
            <a:r>
              <a:t>Texte :</a:t>
            </a:r>
          </a:p>
          <a:p>
            <a:r>
              <a:t>1.000</a:t>
            </a:r>
          </a:p>
        </p:txBody>
      </p:sp>
      <p:sp>
        <p:nvSpPr>
          <p:cNvPr id="18" name="TextBox 17">
            <a:extLst>
              <a:ext uri="{FF2B5EF4-FFF2-40B4-BE49-F238E27FC236}">
                <a16:creationId xmlns:a16="http://schemas.microsoft.com/office/drawing/2014/main" id="{28E41AE3-68DE-95CB-8FCE-12DA02CDDBA2}"/>
              </a:ext>
            </a:extLst>
          </p:cNvPr>
          <p:cNvSpPr txBox="1"/>
          <p:nvPr/>
        </p:nvSpPr>
        <p:spPr>
          <a:xfrm>
            <a:off x="474840" y="3147384"/>
            <a:ext cx="1148225" cy="153888"/>
          </a:xfrm>
          <a:prstGeom prst="rect">
            <a:avLst/>
          </a:prstGeom>
          <a:noFill/>
        </p:spPr>
        <p:txBody>
          <a:bodyPr wrap="square" lIns="0" tIns="0" rIns="0" bIns="0" rtlCol="0">
            <a:spAutoFit/>
          </a:bodyPr>
          <a:lstStyle/>
          <a:p>
            <a:r>
              <a:t>Texte :</a:t>
            </a:r>
          </a:p>
          <a:p>
            <a:r>
              <a:t>2.000</a:t>
            </a:r>
          </a:p>
        </p:txBody>
      </p:sp>
      <p:sp>
        <p:nvSpPr>
          <p:cNvPr id="19" name="TextBox 18">
            <a:extLst>
              <a:ext uri="{FF2B5EF4-FFF2-40B4-BE49-F238E27FC236}">
                <a16:creationId xmlns:a16="http://schemas.microsoft.com/office/drawing/2014/main" id="{7A6FBCE8-1611-25EC-DE9F-FD7A4C0F1576}"/>
              </a:ext>
            </a:extLst>
          </p:cNvPr>
          <p:cNvSpPr txBox="1"/>
          <p:nvPr/>
        </p:nvSpPr>
        <p:spPr>
          <a:xfrm>
            <a:off x="474840" y="2648757"/>
            <a:ext cx="1148225" cy="153888"/>
          </a:xfrm>
          <a:prstGeom prst="rect">
            <a:avLst/>
          </a:prstGeom>
          <a:noFill/>
        </p:spPr>
        <p:txBody>
          <a:bodyPr wrap="square" lIns="0" tIns="0" rIns="0" bIns="0" rtlCol="0">
            <a:spAutoFit/>
          </a:bodyPr>
          <a:lstStyle/>
          <a:p>
            <a:r>
              <a:t>Texte :</a:t>
            </a:r>
          </a:p>
          <a:p>
            <a:r>
              <a:t>3.000</a:t>
            </a:r>
          </a:p>
        </p:txBody>
      </p:sp>
      <p:sp>
        <p:nvSpPr>
          <p:cNvPr id="20" name="TextBox 19">
            <a:extLst>
              <a:ext uri="{FF2B5EF4-FFF2-40B4-BE49-F238E27FC236}">
                <a16:creationId xmlns:a16="http://schemas.microsoft.com/office/drawing/2014/main" id="{7781F28C-1A13-795C-CD71-7A01F31E9548}"/>
              </a:ext>
            </a:extLst>
          </p:cNvPr>
          <p:cNvSpPr txBox="1"/>
          <p:nvPr/>
        </p:nvSpPr>
        <p:spPr>
          <a:xfrm>
            <a:off x="474840" y="2150131"/>
            <a:ext cx="1148225" cy="153888"/>
          </a:xfrm>
          <a:prstGeom prst="rect">
            <a:avLst/>
          </a:prstGeom>
          <a:noFill/>
        </p:spPr>
        <p:txBody>
          <a:bodyPr wrap="square" lIns="0" tIns="0" rIns="0" bIns="0" rtlCol="0">
            <a:spAutoFit/>
          </a:bodyPr>
          <a:lstStyle/>
          <a:p>
            <a:r>
              <a:t>Texte :</a:t>
            </a:r>
          </a:p>
          <a:p>
            <a:r>
              <a:t>4 000</a:t>
            </a:r>
          </a:p>
        </p:txBody>
      </p:sp>
      <p:sp>
        <p:nvSpPr>
          <p:cNvPr id="21" name="TextBox 20">
            <a:extLst>
              <a:ext uri="{FF2B5EF4-FFF2-40B4-BE49-F238E27FC236}">
                <a16:creationId xmlns:a16="http://schemas.microsoft.com/office/drawing/2014/main" id="{DB181E79-D307-7A48-B53C-2A028B4534A4}"/>
              </a:ext>
            </a:extLst>
          </p:cNvPr>
          <p:cNvSpPr txBox="1"/>
          <p:nvPr/>
        </p:nvSpPr>
        <p:spPr>
          <a:xfrm>
            <a:off x="1105844" y="4360109"/>
            <a:ext cx="284193" cy="123111"/>
          </a:xfrm>
          <a:prstGeom prst="rect">
            <a:avLst/>
          </a:prstGeom>
          <a:noFill/>
        </p:spPr>
        <p:txBody>
          <a:bodyPr wrap="square" lIns="0" tIns="0" rIns="0" bIns="0" rtlCol="0">
            <a:spAutoFit/>
          </a:bodyPr>
          <a:lstStyle/>
          <a:p>
            <a:r>
              <a:t>Texte:</a:t>
            </a:r>
          </a:p>
          <a:p>
            <a:r>
              <a:t>'24</a:t>
            </a:r>
          </a:p>
        </p:txBody>
      </p:sp>
      <p:sp>
        <p:nvSpPr>
          <p:cNvPr id="22" name="TextBox 21">
            <a:extLst>
              <a:ext uri="{FF2B5EF4-FFF2-40B4-BE49-F238E27FC236}">
                <a16:creationId xmlns:a16="http://schemas.microsoft.com/office/drawing/2014/main" id="{E36E9343-C07D-B1B6-D5BC-CD748C37F800}"/>
              </a:ext>
            </a:extLst>
          </p:cNvPr>
          <p:cNvSpPr txBox="1"/>
          <p:nvPr/>
        </p:nvSpPr>
        <p:spPr>
          <a:xfrm>
            <a:off x="1402071" y="4362023"/>
            <a:ext cx="275948" cy="123111"/>
          </a:xfrm>
          <a:prstGeom prst="rect">
            <a:avLst/>
          </a:prstGeom>
          <a:noFill/>
        </p:spPr>
        <p:txBody>
          <a:bodyPr wrap="square" lIns="0" tIns="0" rIns="0" bIns="0" rtlCol="0">
            <a:spAutoFit/>
          </a:bodyPr>
          <a:lstStyle/>
          <a:p>
            <a:r>
              <a:t>Texte:</a:t>
            </a:r>
          </a:p>
          <a:p>
            <a:r>
              <a:t>'25</a:t>
            </a:r>
          </a:p>
        </p:txBody>
      </p:sp>
      <p:sp>
        <p:nvSpPr>
          <p:cNvPr id="23" name="TextBox 22">
            <a:extLst>
              <a:ext uri="{FF2B5EF4-FFF2-40B4-BE49-F238E27FC236}">
                <a16:creationId xmlns:a16="http://schemas.microsoft.com/office/drawing/2014/main" id="{C70411CD-51A4-BC2B-BD05-C1FCF637C70C}"/>
              </a:ext>
            </a:extLst>
          </p:cNvPr>
          <p:cNvSpPr txBox="1"/>
          <p:nvPr/>
        </p:nvSpPr>
        <p:spPr>
          <a:xfrm>
            <a:off x="1708230" y="4358933"/>
            <a:ext cx="275948" cy="123111"/>
          </a:xfrm>
          <a:prstGeom prst="rect">
            <a:avLst/>
          </a:prstGeom>
          <a:noFill/>
        </p:spPr>
        <p:txBody>
          <a:bodyPr wrap="square" lIns="0" tIns="0" rIns="0" bIns="0" rtlCol="0">
            <a:spAutoFit/>
          </a:bodyPr>
          <a:lstStyle/>
          <a:p>
            <a:r>
              <a:t>Texte:</a:t>
            </a:r>
          </a:p>
          <a:p>
            <a:r>
              <a:t>'26</a:t>
            </a:r>
          </a:p>
        </p:txBody>
      </p:sp>
      <p:sp>
        <p:nvSpPr>
          <p:cNvPr id="24" name="TextBox 23">
            <a:extLst>
              <a:ext uri="{FF2B5EF4-FFF2-40B4-BE49-F238E27FC236}">
                <a16:creationId xmlns:a16="http://schemas.microsoft.com/office/drawing/2014/main" id="{DFBE352C-E6C4-2805-4DC0-CFAB8831B579}"/>
              </a:ext>
            </a:extLst>
          </p:cNvPr>
          <p:cNvSpPr txBox="1"/>
          <p:nvPr/>
        </p:nvSpPr>
        <p:spPr>
          <a:xfrm>
            <a:off x="2003839" y="4355571"/>
            <a:ext cx="204763" cy="123111"/>
          </a:xfrm>
          <a:prstGeom prst="rect">
            <a:avLst/>
          </a:prstGeom>
          <a:noFill/>
        </p:spPr>
        <p:txBody>
          <a:bodyPr wrap="square" lIns="0" tIns="0" rIns="0" bIns="0" rtlCol="0">
            <a:spAutoFit/>
          </a:bodyPr>
          <a:lstStyle/>
          <a:p>
            <a:r>
              <a:t>Texte:</a:t>
            </a:r>
          </a:p>
          <a:p>
            <a:r>
              <a:t>'27</a:t>
            </a:r>
          </a:p>
        </p:txBody>
      </p:sp>
      <p:sp>
        <p:nvSpPr>
          <p:cNvPr id="25" name="TextBox 24">
            <a:extLst>
              <a:ext uri="{FF2B5EF4-FFF2-40B4-BE49-F238E27FC236}">
                <a16:creationId xmlns:a16="http://schemas.microsoft.com/office/drawing/2014/main" id="{46499EC3-5AD0-6A43-1364-551411507F17}"/>
              </a:ext>
            </a:extLst>
          </p:cNvPr>
          <p:cNvSpPr txBox="1"/>
          <p:nvPr/>
        </p:nvSpPr>
        <p:spPr>
          <a:xfrm>
            <a:off x="2262045" y="4366559"/>
            <a:ext cx="228148" cy="123111"/>
          </a:xfrm>
          <a:prstGeom prst="rect">
            <a:avLst/>
          </a:prstGeom>
          <a:noFill/>
        </p:spPr>
        <p:txBody>
          <a:bodyPr wrap="square" lIns="0" tIns="0" rIns="0" bIns="0" rtlCol="0">
            <a:spAutoFit/>
          </a:bodyPr>
          <a:lstStyle/>
          <a:p>
            <a:r>
              <a:t>Texte:</a:t>
            </a:r>
          </a:p>
          <a:p>
            <a:r>
              <a:t>'28</a:t>
            </a:r>
          </a:p>
        </p:txBody>
      </p:sp>
      <p:sp>
        <p:nvSpPr>
          <p:cNvPr id="26" name="TextBox 25">
            <a:extLst>
              <a:ext uri="{FF2B5EF4-FFF2-40B4-BE49-F238E27FC236}">
                <a16:creationId xmlns:a16="http://schemas.microsoft.com/office/drawing/2014/main" id="{5E0956FE-9EB0-DA63-9EBF-2FABD4C9371E}"/>
              </a:ext>
            </a:extLst>
          </p:cNvPr>
          <p:cNvSpPr txBox="1"/>
          <p:nvPr/>
        </p:nvSpPr>
        <p:spPr>
          <a:xfrm>
            <a:off x="2604623" y="4360109"/>
            <a:ext cx="224105" cy="123111"/>
          </a:xfrm>
          <a:prstGeom prst="rect">
            <a:avLst/>
          </a:prstGeom>
          <a:noFill/>
        </p:spPr>
        <p:txBody>
          <a:bodyPr wrap="square" lIns="0" tIns="0" rIns="0" bIns="0" rtlCol="0">
            <a:spAutoFit/>
          </a:bodyPr>
          <a:lstStyle/>
          <a:p>
            <a:r>
              <a:t>Texte:</a:t>
            </a:r>
          </a:p>
          <a:p>
            <a:r>
              <a:t>'29</a:t>
            </a:r>
          </a:p>
        </p:txBody>
      </p:sp>
      <p:sp>
        <p:nvSpPr>
          <p:cNvPr id="27" name="TextBox 26">
            <a:extLst>
              <a:ext uri="{FF2B5EF4-FFF2-40B4-BE49-F238E27FC236}">
                <a16:creationId xmlns:a16="http://schemas.microsoft.com/office/drawing/2014/main" id="{826CC4C1-A521-CF0C-C45D-AF3D341791F9}"/>
              </a:ext>
            </a:extLst>
          </p:cNvPr>
          <p:cNvSpPr txBox="1"/>
          <p:nvPr/>
        </p:nvSpPr>
        <p:spPr>
          <a:xfrm>
            <a:off x="2909438" y="4353443"/>
            <a:ext cx="243941" cy="123111"/>
          </a:xfrm>
          <a:prstGeom prst="rect">
            <a:avLst/>
          </a:prstGeom>
          <a:noFill/>
        </p:spPr>
        <p:txBody>
          <a:bodyPr wrap="square" lIns="0" tIns="0" rIns="0" bIns="0" rtlCol="0">
            <a:spAutoFit/>
          </a:bodyPr>
          <a:lstStyle/>
          <a:p>
            <a:r>
              <a:t>Texte:</a:t>
            </a:r>
          </a:p>
          <a:p>
            <a:r>
              <a:t>'30</a:t>
            </a:r>
          </a:p>
        </p:txBody>
      </p:sp>
      <p:sp>
        <p:nvSpPr>
          <p:cNvPr id="28" name="TextBox 27">
            <a:extLst>
              <a:ext uri="{FF2B5EF4-FFF2-40B4-BE49-F238E27FC236}">
                <a16:creationId xmlns:a16="http://schemas.microsoft.com/office/drawing/2014/main" id="{86960477-533A-4BBD-3E6F-D681D7407BCE}"/>
              </a:ext>
            </a:extLst>
          </p:cNvPr>
          <p:cNvSpPr txBox="1"/>
          <p:nvPr/>
        </p:nvSpPr>
        <p:spPr>
          <a:xfrm>
            <a:off x="3205223" y="4352799"/>
            <a:ext cx="213170" cy="123111"/>
          </a:xfrm>
          <a:prstGeom prst="rect">
            <a:avLst/>
          </a:prstGeom>
          <a:noFill/>
        </p:spPr>
        <p:txBody>
          <a:bodyPr wrap="square" lIns="0" tIns="0" rIns="0" bIns="0" rtlCol="0">
            <a:spAutoFit/>
          </a:bodyPr>
          <a:lstStyle/>
          <a:p>
            <a:r>
              <a:t>Texte:</a:t>
            </a:r>
          </a:p>
          <a:p>
            <a:r>
              <a:t>'31</a:t>
            </a:r>
          </a:p>
        </p:txBody>
      </p:sp>
      <p:sp>
        <p:nvSpPr>
          <p:cNvPr id="33" name="TextBox 32">
            <a:extLst>
              <a:ext uri="{FF2B5EF4-FFF2-40B4-BE49-F238E27FC236}">
                <a16:creationId xmlns:a16="http://schemas.microsoft.com/office/drawing/2014/main" id="{E7C885A3-2E5C-1856-1D14-11089A4D8A56}"/>
              </a:ext>
            </a:extLst>
          </p:cNvPr>
          <p:cNvSpPr txBox="1"/>
          <p:nvPr/>
        </p:nvSpPr>
        <p:spPr>
          <a:xfrm>
            <a:off x="3501315" y="4348703"/>
            <a:ext cx="245086" cy="123111"/>
          </a:xfrm>
          <a:prstGeom prst="rect">
            <a:avLst/>
          </a:prstGeom>
          <a:noFill/>
        </p:spPr>
        <p:txBody>
          <a:bodyPr wrap="square" lIns="0" tIns="0" rIns="0" bIns="0" rtlCol="0">
            <a:spAutoFit/>
          </a:bodyPr>
          <a:lstStyle/>
          <a:p>
            <a:r>
              <a:t>Texte:</a:t>
            </a:r>
          </a:p>
          <a:p>
            <a:r>
              <a:t>'32</a:t>
            </a:r>
          </a:p>
        </p:txBody>
      </p:sp>
      <p:sp>
        <p:nvSpPr>
          <p:cNvPr id="34" name="TextBox 33">
            <a:extLst>
              <a:ext uri="{FF2B5EF4-FFF2-40B4-BE49-F238E27FC236}">
                <a16:creationId xmlns:a16="http://schemas.microsoft.com/office/drawing/2014/main" id="{217B3F4D-992F-DF31-4A0C-A534C6AA99E9}"/>
              </a:ext>
            </a:extLst>
          </p:cNvPr>
          <p:cNvSpPr txBox="1"/>
          <p:nvPr/>
        </p:nvSpPr>
        <p:spPr>
          <a:xfrm>
            <a:off x="3806042" y="4348703"/>
            <a:ext cx="245086" cy="123111"/>
          </a:xfrm>
          <a:prstGeom prst="rect">
            <a:avLst/>
          </a:prstGeom>
          <a:noFill/>
        </p:spPr>
        <p:txBody>
          <a:bodyPr wrap="square" lIns="0" tIns="0" rIns="0" bIns="0" rtlCol="0">
            <a:spAutoFit/>
          </a:bodyPr>
          <a:lstStyle/>
          <a:p>
            <a:r>
              <a:t>Texte:</a:t>
            </a:r>
          </a:p>
          <a:p>
            <a:r>
              <a:t>'33</a:t>
            </a:r>
          </a:p>
        </p:txBody>
      </p:sp>
      <p:sp>
        <p:nvSpPr>
          <p:cNvPr id="35" name="TextBox 34">
            <a:extLst>
              <a:ext uri="{FF2B5EF4-FFF2-40B4-BE49-F238E27FC236}">
                <a16:creationId xmlns:a16="http://schemas.microsoft.com/office/drawing/2014/main" id="{44E21B13-1015-D028-6EDA-069F8F4E6802}"/>
              </a:ext>
            </a:extLst>
          </p:cNvPr>
          <p:cNvSpPr txBox="1"/>
          <p:nvPr/>
        </p:nvSpPr>
        <p:spPr>
          <a:xfrm>
            <a:off x="4116604" y="4348701"/>
            <a:ext cx="277167" cy="123111"/>
          </a:xfrm>
          <a:prstGeom prst="rect">
            <a:avLst/>
          </a:prstGeom>
          <a:noFill/>
        </p:spPr>
        <p:txBody>
          <a:bodyPr wrap="square" lIns="0" tIns="0" rIns="0" bIns="0" rtlCol="0">
            <a:spAutoFit/>
          </a:bodyPr>
          <a:lstStyle/>
          <a:p>
            <a:r>
              <a:t>Texte:</a:t>
            </a:r>
          </a:p>
          <a:p>
            <a:r>
              <a:t>'34</a:t>
            </a:r>
          </a:p>
        </p:txBody>
      </p:sp>
      <p:sp>
        <p:nvSpPr>
          <p:cNvPr id="36" name="TextBox 35">
            <a:extLst>
              <a:ext uri="{FF2B5EF4-FFF2-40B4-BE49-F238E27FC236}">
                <a16:creationId xmlns:a16="http://schemas.microsoft.com/office/drawing/2014/main" id="{6F8309E4-16D1-FC18-D455-C22FAA85E9A5}"/>
              </a:ext>
            </a:extLst>
          </p:cNvPr>
          <p:cNvSpPr txBox="1"/>
          <p:nvPr/>
        </p:nvSpPr>
        <p:spPr>
          <a:xfrm>
            <a:off x="4415532" y="4345680"/>
            <a:ext cx="220613" cy="123111"/>
          </a:xfrm>
          <a:prstGeom prst="rect">
            <a:avLst/>
          </a:prstGeom>
          <a:noFill/>
        </p:spPr>
        <p:txBody>
          <a:bodyPr wrap="square" lIns="0" tIns="0" rIns="0" bIns="0" rtlCol="0">
            <a:spAutoFit/>
          </a:bodyPr>
          <a:lstStyle/>
          <a:p>
            <a:r>
              <a:t>Texte:</a:t>
            </a:r>
          </a:p>
          <a:p>
            <a:r>
              <a:t>'35</a:t>
            </a:r>
          </a:p>
        </p:txBody>
      </p:sp>
      <p:sp>
        <p:nvSpPr>
          <p:cNvPr id="37" name="TextBox 36">
            <a:extLst>
              <a:ext uri="{FF2B5EF4-FFF2-40B4-BE49-F238E27FC236}">
                <a16:creationId xmlns:a16="http://schemas.microsoft.com/office/drawing/2014/main" id="{A78BE1A7-72D0-9C91-CC6C-696624809F69}"/>
              </a:ext>
            </a:extLst>
          </p:cNvPr>
          <p:cNvSpPr txBox="1"/>
          <p:nvPr/>
        </p:nvSpPr>
        <p:spPr>
          <a:xfrm>
            <a:off x="4701764" y="4338680"/>
            <a:ext cx="239369" cy="123111"/>
          </a:xfrm>
          <a:prstGeom prst="rect">
            <a:avLst/>
          </a:prstGeom>
          <a:noFill/>
        </p:spPr>
        <p:txBody>
          <a:bodyPr wrap="square" lIns="0" tIns="0" rIns="0" bIns="0" rtlCol="0">
            <a:spAutoFit/>
          </a:bodyPr>
          <a:lstStyle/>
          <a:p>
            <a:r>
              <a:t>Texte:</a:t>
            </a:r>
          </a:p>
          <a:p>
            <a:r>
              <a:t>'36</a:t>
            </a:r>
          </a:p>
        </p:txBody>
      </p:sp>
      <p:sp>
        <p:nvSpPr>
          <p:cNvPr id="38" name="TextBox 37">
            <a:extLst>
              <a:ext uri="{FF2B5EF4-FFF2-40B4-BE49-F238E27FC236}">
                <a16:creationId xmlns:a16="http://schemas.microsoft.com/office/drawing/2014/main" id="{100B754E-7FD3-5B5F-AF44-2F50E4A6626D}"/>
              </a:ext>
            </a:extLst>
          </p:cNvPr>
          <p:cNvSpPr txBox="1"/>
          <p:nvPr/>
        </p:nvSpPr>
        <p:spPr>
          <a:xfrm>
            <a:off x="5003043" y="4333520"/>
            <a:ext cx="204763" cy="123111"/>
          </a:xfrm>
          <a:prstGeom prst="rect">
            <a:avLst/>
          </a:prstGeom>
          <a:noFill/>
        </p:spPr>
        <p:txBody>
          <a:bodyPr wrap="square" lIns="0" tIns="0" rIns="0" bIns="0" rtlCol="0">
            <a:spAutoFit/>
          </a:bodyPr>
          <a:lstStyle/>
          <a:p>
            <a:r>
              <a:t>Texte:</a:t>
            </a:r>
          </a:p>
          <a:p>
            <a:r>
              <a:t>'37</a:t>
            </a:r>
          </a:p>
        </p:txBody>
      </p:sp>
      <p:sp>
        <p:nvSpPr>
          <p:cNvPr id="40" name="TextBox 39">
            <a:extLst>
              <a:ext uri="{FF2B5EF4-FFF2-40B4-BE49-F238E27FC236}">
                <a16:creationId xmlns:a16="http://schemas.microsoft.com/office/drawing/2014/main" id="{CD90F769-D677-C65A-BD8E-179B4CDDAF27}"/>
              </a:ext>
            </a:extLst>
          </p:cNvPr>
          <p:cNvSpPr txBox="1"/>
          <p:nvPr/>
        </p:nvSpPr>
        <p:spPr>
          <a:xfrm>
            <a:off x="5302171" y="4333522"/>
            <a:ext cx="230299" cy="123111"/>
          </a:xfrm>
          <a:prstGeom prst="rect">
            <a:avLst/>
          </a:prstGeom>
          <a:noFill/>
        </p:spPr>
        <p:txBody>
          <a:bodyPr wrap="square" lIns="0" tIns="0" rIns="0" bIns="0" rtlCol="0">
            <a:spAutoFit/>
          </a:bodyPr>
          <a:lstStyle/>
          <a:p>
            <a:r>
              <a:t>Texte:</a:t>
            </a:r>
          </a:p>
          <a:p>
            <a:r>
              <a:t>'38</a:t>
            </a:r>
          </a:p>
        </p:txBody>
      </p:sp>
      <p:sp>
        <p:nvSpPr>
          <p:cNvPr id="41" name="TextBox 40">
            <a:extLst>
              <a:ext uri="{FF2B5EF4-FFF2-40B4-BE49-F238E27FC236}">
                <a16:creationId xmlns:a16="http://schemas.microsoft.com/office/drawing/2014/main" id="{0120764F-EA27-3C29-ADCC-AE5FF076911D}"/>
              </a:ext>
            </a:extLst>
          </p:cNvPr>
          <p:cNvSpPr txBox="1"/>
          <p:nvPr/>
        </p:nvSpPr>
        <p:spPr>
          <a:xfrm>
            <a:off x="5616639" y="4331767"/>
            <a:ext cx="275285" cy="123111"/>
          </a:xfrm>
          <a:prstGeom prst="rect">
            <a:avLst/>
          </a:prstGeom>
          <a:noFill/>
        </p:spPr>
        <p:txBody>
          <a:bodyPr wrap="square" lIns="0" tIns="0" rIns="0" bIns="0" rtlCol="0">
            <a:spAutoFit/>
          </a:bodyPr>
          <a:lstStyle/>
          <a:p>
            <a:r>
              <a:t>Texte:</a:t>
            </a:r>
          </a:p>
          <a:p>
            <a:r>
              <a:t>'39</a:t>
            </a:r>
          </a:p>
        </p:txBody>
      </p:sp>
      <p:cxnSp>
        <p:nvCxnSpPr>
          <p:cNvPr id="42" name="Straight Arrow Connector 41">
            <a:extLst>
              <a:ext uri="{FF2B5EF4-FFF2-40B4-BE49-F238E27FC236}">
                <a16:creationId xmlns:a16="http://schemas.microsoft.com/office/drawing/2014/main" id="{54F44053-3A5F-C482-4B07-EAF0635A32A9}"/>
              </a:ext>
            </a:extLst>
          </p:cNvPr>
          <p:cNvCxnSpPr>
            <a:cxnSpLocks/>
          </p:cNvCxnSpPr>
          <p:nvPr/>
        </p:nvCxnSpPr>
        <p:spPr>
          <a:xfrm flipV="1">
            <a:off x="1131853" y="2056249"/>
            <a:ext cx="2573034" cy="1805251"/>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81DEEEB1-503B-F537-715E-09C8330BED2C}"/>
              </a:ext>
            </a:extLst>
          </p:cNvPr>
          <p:cNvCxnSpPr>
            <a:cxnSpLocks/>
          </p:cNvCxnSpPr>
          <p:nvPr/>
        </p:nvCxnSpPr>
        <p:spPr>
          <a:xfrm flipV="1">
            <a:off x="1131853" y="2698338"/>
            <a:ext cx="1380166" cy="966657"/>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C04BF515-69EF-BBDE-9675-A99A27A21000}"/>
              </a:ext>
            </a:extLst>
          </p:cNvPr>
          <p:cNvSpPr txBox="1"/>
          <p:nvPr/>
        </p:nvSpPr>
        <p:spPr>
          <a:xfrm>
            <a:off x="2003135" y="2678106"/>
            <a:ext cx="372984" cy="138499"/>
          </a:xfrm>
          <a:prstGeom prst="rect">
            <a:avLst/>
          </a:prstGeom>
          <a:noFill/>
        </p:spPr>
        <p:txBody>
          <a:bodyPr wrap="square" lIns="0" tIns="0" rIns="0" bIns="0" rtlCol="0" anchor="t">
            <a:spAutoFit/>
          </a:bodyPr>
          <a:lstStyle/>
          <a:p>
            <a:r>
              <a:t>Texte :</a:t>
            </a:r>
          </a:p>
          <a:p>
            <a:r>
              <a:t>x6</a:t>
            </a:r>
          </a:p>
        </p:txBody>
      </p:sp>
      <p:sp>
        <p:nvSpPr>
          <p:cNvPr id="70" name="TextBox 69">
            <a:extLst>
              <a:ext uri="{FF2B5EF4-FFF2-40B4-BE49-F238E27FC236}">
                <a16:creationId xmlns:a16="http://schemas.microsoft.com/office/drawing/2014/main" id="{419C8638-AE19-6F9D-2D22-F51CF3AA4ADC}"/>
              </a:ext>
            </a:extLst>
          </p:cNvPr>
          <p:cNvSpPr txBox="1"/>
          <p:nvPr/>
        </p:nvSpPr>
        <p:spPr>
          <a:xfrm>
            <a:off x="3382854" y="1790758"/>
            <a:ext cx="362340" cy="215444"/>
          </a:xfrm>
          <a:prstGeom prst="rect">
            <a:avLst/>
          </a:prstGeom>
          <a:noFill/>
        </p:spPr>
        <p:txBody>
          <a:bodyPr wrap="square" lIns="0" tIns="0" rIns="0" bIns="0" rtlCol="0" anchor="t">
            <a:spAutoFit/>
          </a:bodyPr>
          <a:lstStyle/>
          <a:p>
            <a:r>
              <a:t>Texte :</a:t>
            </a:r>
          </a:p>
          <a:p>
            <a:r>
              <a:t>x12</a:t>
            </a:r>
          </a:p>
        </p:txBody>
      </p:sp>
      <p:cxnSp>
        <p:nvCxnSpPr>
          <p:cNvPr id="65" name="Straight Arrow Connector 42">
            <a:extLst>
              <a:ext uri="{FF2B5EF4-FFF2-40B4-BE49-F238E27FC236}">
                <a16:creationId xmlns:a16="http://schemas.microsoft.com/office/drawing/2014/main" id="{E813A86C-B7A6-6318-88F8-03B1227488CF}"/>
              </a:ext>
            </a:extLst>
          </p:cNvPr>
          <p:cNvCxnSpPr>
            <a:cxnSpLocks/>
          </p:cNvCxnSpPr>
          <p:nvPr/>
        </p:nvCxnSpPr>
        <p:spPr>
          <a:xfrm flipV="1">
            <a:off x="1616344" y="4683358"/>
            <a:ext cx="3110416" cy="14219"/>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6346EEB9-3109-D1EE-2985-3B41FAE8A165}"/>
              </a:ext>
            </a:extLst>
          </p:cNvPr>
          <p:cNvSpPr txBox="1"/>
          <p:nvPr/>
        </p:nvSpPr>
        <p:spPr>
          <a:xfrm flipV="1">
            <a:off x="1508827" y="4012155"/>
            <a:ext cx="45719" cy="45719"/>
          </a:xfrm>
          <a:prstGeom prst="rect">
            <a:avLst/>
          </a:prstGeom>
          <a:noFill/>
        </p:spPr>
        <p:txBody>
          <a:bodyPr wrap="none" lIns="0" tIns="0" rIns="0" bIns="0" rtlCol="0">
            <a:noAutofit/>
          </a:bodyPr>
          <a:lstStyle/>
          <a:p>
            <a:pPr algn="l" defTabSz="685800"/>
            <a:endParaRPr lang="en-BE" sz="1400">
              <a:solidFill>
                <a:srgbClr val="01112B"/>
              </a:solidFill>
              <a:latin typeface="Proximus Light" pitchFamily="2" charset="77"/>
            </a:endParaRPr>
          </a:p>
        </p:txBody>
      </p:sp>
      <p:sp>
        <p:nvSpPr>
          <p:cNvPr id="72" name="Isosceles Triangle 71">
            <a:extLst>
              <a:ext uri="{FF2B5EF4-FFF2-40B4-BE49-F238E27FC236}">
                <a16:creationId xmlns:a16="http://schemas.microsoft.com/office/drawing/2014/main" id="{663BE888-82BD-9F08-54CC-88D55F68C065}"/>
              </a:ext>
            </a:extLst>
          </p:cNvPr>
          <p:cNvSpPr/>
          <p:nvPr/>
        </p:nvSpPr>
        <p:spPr>
          <a:xfrm>
            <a:off x="1319088" y="4573293"/>
            <a:ext cx="243941" cy="221061"/>
          </a:xfrm>
          <a:prstGeom prst="triangle">
            <a:avLst/>
          </a:prstGeom>
          <a:solidFill>
            <a:schemeClr val="bg1"/>
          </a:solidFill>
          <a:ln w="3175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GB" sz="1400" err="1">
              <a:solidFill>
                <a:schemeClr val="tx1"/>
              </a:solidFill>
              <a:latin typeface="Proximus Bold" panose="00000500000000000000" pitchFamily="2" charset="0"/>
              <a:cs typeface="Proximus Bold"/>
            </a:endParaRPr>
          </a:p>
        </p:txBody>
      </p:sp>
      <p:sp>
        <p:nvSpPr>
          <p:cNvPr id="77" name="AutoShape 20" descr="Fiber Optic and Immunity to Electromagnetic Interference">
            <a:extLst>
              <a:ext uri="{FF2B5EF4-FFF2-40B4-BE49-F238E27FC236}">
                <a16:creationId xmlns:a16="http://schemas.microsoft.com/office/drawing/2014/main" id="{50A39007-CE50-62D1-4EE8-5ED8FACAFC52}"/>
              </a:ext>
            </a:extLst>
          </p:cNvPr>
          <p:cNvSpPr>
            <a:spLocks noChangeAspect="1" noChangeArrowheads="1"/>
          </p:cNvSpPr>
          <p:nvPr/>
        </p:nvSpPr>
        <p:spPr bwMode="auto">
          <a:xfrm>
            <a:off x="4581966" y="2616682"/>
            <a:ext cx="284486" cy="2844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0" name="TextBox 89">
            <a:extLst>
              <a:ext uri="{FF2B5EF4-FFF2-40B4-BE49-F238E27FC236}">
                <a16:creationId xmlns:a16="http://schemas.microsoft.com/office/drawing/2014/main" id="{DAF821D7-7A13-D535-5F09-00338F0F2339}"/>
              </a:ext>
            </a:extLst>
          </p:cNvPr>
          <p:cNvSpPr txBox="1"/>
          <p:nvPr/>
        </p:nvSpPr>
        <p:spPr>
          <a:xfrm>
            <a:off x="4954374" y="4591025"/>
            <a:ext cx="1517645" cy="184666"/>
          </a:xfrm>
          <a:prstGeom prst="rect">
            <a:avLst/>
          </a:prstGeom>
          <a:noFill/>
        </p:spPr>
        <p:txBody>
          <a:bodyPr wrap="square" lIns="0" tIns="0" rIns="0" bIns="0">
            <a:spAutoFit/>
          </a:bodyPr>
          <a:lstStyle/>
          <a:p>
            <a:r>
              <a:t>Texte :</a:t>
            </a:r>
          </a:p>
          <a:p>
            <a:r>
              <a:t>Sans cuivre</a:t>
            </a:r>
          </a:p>
        </p:txBody>
      </p:sp>
      <p:pic>
        <p:nvPicPr>
          <p:cNvPr id="75" name="Graphic 74">
            <a:extLst>
              <a:ext uri="{FF2B5EF4-FFF2-40B4-BE49-F238E27FC236}">
                <a16:creationId xmlns:a16="http://schemas.microsoft.com/office/drawing/2014/main" id="{5CFDC1AA-95B3-030C-B661-F965B8FC33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2264" y="3026179"/>
            <a:ext cx="355600" cy="304800"/>
          </a:xfrm>
          <a:prstGeom prst="rect">
            <a:avLst/>
          </a:prstGeom>
        </p:spPr>
      </p:pic>
      <p:pic>
        <p:nvPicPr>
          <p:cNvPr id="76" name="Graphic 75">
            <a:extLst>
              <a:ext uri="{FF2B5EF4-FFF2-40B4-BE49-F238E27FC236}">
                <a16:creationId xmlns:a16="http://schemas.microsoft.com/office/drawing/2014/main" id="{61BADE8A-A20A-AA83-00B5-CBCE943791E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456442" y="3024294"/>
            <a:ext cx="316088" cy="304800"/>
          </a:xfrm>
          <a:prstGeom prst="rect">
            <a:avLst/>
          </a:prstGeom>
        </p:spPr>
      </p:pic>
      <p:pic>
        <p:nvPicPr>
          <p:cNvPr id="78" name="Graphic 77">
            <a:extLst>
              <a:ext uri="{FF2B5EF4-FFF2-40B4-BE49-F238E27FC236}">
                <a16:creationId xmlns:a16="http://schemas.microsoft.com/office/drawing/2014/main" id="{FC6A4C87-B0D1-0889-72C0-97EFCD293FD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805348" y="4291163"/>
            <a:ext cx="316088" cy="282221"/>
          </a:xfrm>
          <a:prstGeom prst="rect">
            <a:avLst/>
          </a:prstGeom>
        </p:spPr>
      </p:pic>
      <p:pic>
        <p:nvPicPr>
          <p:cNvPr id="32" name="Graphic 31">
            <a:extLst>
              <a:ext uri="{FF2B5EF4-FFF2-40B4-BE49-F238E27FC236}">
                <a16:creationId xmlns:a16="http://schemas.microsoft.com/office/drawing/2014/main" id="{76624657-6EA3-81A5-9D15-F7D2D5C4F0F3}"/>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207149" y="1354873"/>
            <a:ext cx="100076" cy="162402"/>
          </a:xfrm>
          <a:prstGeom prst="rect">
            <a:avLst/>
          </a:prstGeom>
        </p:spPr>
      </p:pic>
      <p:pic>
        <p:nvPicPr>
          <p:cNvPr id="51" name="Graphic 50">
            <a:extLst>
              <a:ext uri="{FF2B5EF4-FFF2-40B4-BE49-F238E27FC236}">
                <a16:creationId xmlns:a16="http://schemas.microsoft.com/office/drawing/2014/main" id="{F3D94E74-62DA-330B-A12C-580F67F1D106}"/>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493112" y="1354873"/>
            <a:ext cx="100076" cy="162402"/>
          </a:xfrm>
          <a:prstGeom prst="rect">
            <a:avLst/>
          </a:prstGeom>
        </p:spPr>
      </p:pic>
      <p:pic>
        <p:nvPicPr>
          <p:cNvPr id="52" name="Graphic 51">
            <a:extLst>
              <a:ext uri="{FF2B5EF4-FFF2-40B4-BE49-F238E27FC236}">
                <a16:creationId xmlns:a16="http://schemas.microsoft.com/office/drawing/2014/main" id="{D28D9C95-5B00-0F25-9BCC-518D7A8ABD10}"/>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761497" y="3024294"/>
            <a:ext cx="304800" cy="304800"/>
          </a:xfrm>
          <a:prstGeom prst="rect">
            <a:avLst/>
          </a:prstGeom>
        </p:spPr>
      </p:pic>
      <p:pic>
        <p:nvPicPr>
          <p:cNvPr id="5" name="Picture 2" descr="Proximus - Qu'est ce qu'ils ont fait ?? :-|">
            <a:extLst>
              <a:ext uri="{FF2B5EF4-FFF2-40B4-BE49-F238E27FC236}">
                <a16:creationId xmlns:a16="http://schemas.microsoft.com/office/drawing/2014/main" id="{019421DC-59DC-8FF4-E3D2-3F6DA6645317}"/>
              </a:ext>
            </a:extLst>
          </p:cNvPr>
          <p:cNvPicPr>
            <a:picLocks noChangeArrowheads="1"/>
          </p:cNvPicPr>
          <p:nvPr/>
        </p:nvPicPr>
        <p:blipFill rotWithShape="1">
          <a:blip r:embed="rId15">
            <a:extLst>
              <a:ext uri="{28A0092B-C50C-407E-A947-70E740481C1C}">
                <a14:useLocalDpi xmlns:a14="http://schemas.microsoft.com/office/drawing/2010/main" val="0"/>
              </a:ext>
            </a:extLst>
          </a:blip>
          <a:srcRect t="2320" b="2320"/>
          <a:stretch/>
        </p:blipFill>
        <p:spPr bwMode="auto">
          <a:xfrm>
            <a:off x="6393991"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pic>
        <p:nvPicPr>
          <p:cNvPr id="7" name="Picture 6" descr="Havré : Installation de la fibre optique - RTBF Actus">
            <a:extLst>
              <a:ext uri="{FF2B5EF4-FFF2-40B4-BE49-F238E27FC236}">
                <a16:creationId xmlns:a16="http://schemas.microsoft.com/office/drawing/2014/main" id="{6F758F26-CFCF-19B1-F348-BC6FB2C14EDD}"/>
              </a:ext>
            </a:extLst>
          </p:cNvPr>
          <p:cNvPicPr>
            <a:picLocks noChangeArrowheads="1"/>
          </p:cNvPicPr>
          <p:nvPr/>
        </p:nvPicPr>
        <p:blipFill rotWithShape="1">
          <a:blip r:embed="rId16">
            <a:extLst>
              <a:ext uri="{28A0092B-C50C-407E-A947-70E740481C1C}">
                <a14:useLocalDpi xmlns:a14="http://schemas.microsoft.com/office/drawing/2010/main" val="0"/>
              </a:ext>
            </a:extLst>
          </a:blip>
          <a:srcRect t="2381" b="2381"/>
          <a:stretch/>
        </p:blipFill>
        <p:spPr bwMode="auto">
          <a:xfrm>
            <a:off x="7672451"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pic>
        <p:nvPicPr>
          <p:cNvPr id="8" name="Picture 8" descr="NKT produces world's first HVDC power cables using low-carbon copper | NKT">
            <a:extLst>
              <a:ext uri="{FF2B5EF4-FFF2-40B4-BE49-F238E27FC236}">
                <a16:creationId xmlns:a16="http://schemas.microsoft.com/office/drawing/2014/main" id="{0C9049C7-F978-B2A1-A351-96F213F9E2C5}"/>
              </a:ext>
            </a:extLst>
          </p:cNvPr>
          <p:cNvPicPr>
            <a:picLocks noChangeArrowheads="1"/>
          </p:cNvPicPr>
          <p:nvPr/>
        </p:nvPicPr>
        <p:blipFill rotWithShape="1">
          <a:blip r:embed="rId17">
            <a:extLst>
              <a:ext uri="{28A0092B-C50C-407E-A947-70E740481C1C}">
                <a14:useLocalDpi xmlns:a14="http://schemas.microsoft.com/office/drawing/2010/main" val="0"/>
              </a:ext>
            </a:extLst>
          </a:blip>
          <a:srcRect l="23750" r="23750"/>
          <a:stretch/>
        </p:blipFill>
        <p:spPr bwMode="auto">
          <a:xfrm>
            <a:off x="5115532"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6673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70066-487D-9B58-A876-38FB0B3DF65C}"/>
            </a:ext>
          </a:extLst>
        </p:cNvPr>
        <p:cNvGrpSpPr/>
        <p:nvPr/>
      </p:nvGrpSpPr>
      <p:grpSpPr>
        <a:xfrm>
          <a:off x="0" y="0"/>
          <a:ext cx="0" cy="0"/>
          <a:chOff x="0" y="0"/>
          <a:chExt cx="0" cy="0"/>
        </a:xfrm>
      </p:grpSpPr>
      <p:sp>
        <p:nvSpPr>
          <p:cNvPr id="4" name="Text Placeholder 4">
            <a:extLst>
              <a:ext uri="{FF2B5EF4-FFF2-40B4-BE49-F238E27FC236}">
                <a16:creationId xmlns:a16="http://schemas.microsoft.com/office/drawing/2014/main" id="{2BBE5624-67DD-352E-2C5E-EBC09850C577}"/>
              </a:ext>
            </a:extLst>
          </p:cNvPr>
          <p:cNvSpPr txBox="1">
            <a:spLocks/>
          </p:cNvSpPr>
          <p:nvPr/>
        </p:nvSpPr>
        <p:spPr>
          <a:xfrm>
            <a:off x="460375" y="1393460"/>
            <a:ext cx="1884240" cy="135616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1</a:t>
            </a:r>
          </a:p>
          <a:p>
            <a:r>
              <a:t>Migration sur fibre</a:t>
            </a:r>
          </a:p>
        </p:txBody>
      </p:sp>
      <p:sp>
        <p:nvSpPr>
          <p:cNvPr id="6" name="Text Placeholder 4">
            <a:extLst>
              <a:ext uri="{FF2B5EF4-FFF2-40B4-BE49-F238E27FC236}">
                <a16:creationId xmlns:a16="http://schemas.microsoft.com/office/drawing/2014/main" id="{A6636598-B7BB-0CE6-247F-703580A7221D}"/>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2</a:t>
            </a:r>
          </a:p>
          <a:p>
            <a:r>
              <a:t>Double ROP coupure de courant</a:t>
            </a:r>
          </a:p>
          <a:p>
            <a:r>
              <a:t>Poursuivre le compactage ROP</a:t>
            </a:r>
          </a:p>
        </p:txBody>
      </p:sp>
      <p:sp>
        <p:nvSpPr>
          <p:cNvPr id="8" name="Text Placeholder 4">
            <a:extLst>
              <a:ext uri="{FF2B5EF4-FFF2-40B4-BE49-F238E27FC236}">
                <a16:creationId xmlns:a16="http://schemas.microsoft.com/office/drawing/2014/main" id="{F0C298BA-9DAF-DAC2-8534-EF1955B85F65}"/>
              </a:ext>
            </a:extLst>
          </p:cNvPr>
          <p:cNvSpPr txBox="1">
            <a:spLocks/>
          </p:cNvSpPr>
          <p:nvPr/>
        </p:nvSpPr>
        <p:spPr>
          <a:xfrm>
            <a:off x="4684265" y="3308592"/>
            <a:ext cx="1884240" cy="219874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Automate en arrêt et en démantèlement</a:t>
            </a:r>
          </a:p>
        </p:txBody>
      </p:sp>
      <p:sp>
        <p:nvSpPr>
          <p:cNvPr id="9" name="Text Placeholder 4">
            <a:extLst>
              <a:ext uri="{FF2B5EF4-FFF2-40B4-BE49-F238E27FC236}">
                <a16:creationId xmlns:a16="http://schemas.microsoft.com/office/drawing/2014/main" id="{90073C5A-2B4E-F709-5751-CFDAD7EB82C4}"/>
              </a:ext>
            </a:extLst>
          </p:cNvPr>
          <p:cNvSpPr txBox="1">
            <a:spLocks/>
          </p:cNvSpPr>
          <p:nvPr/>
        </p:nvSpPr>
        <p:spPr>
          <a:xfrm>
            <a:off x="6796210" y="1387107"/>
            <a:ext cx="1884240" cy="201605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4</a:t>
            </a:r>
          </a:p>
          <a:p>
            <a:r>
              <a:t>Optimisez la gestion des pièces de rechange et de l'obsolescence du cuivre et</a:t>
            </a:r>
          </a:p>
        </p:txBody>
      </p:sp>
      <p:sp>
        <p:nvSpPr>
          <p:cNvPr id="10" name="Rounded Rectangle 9">
            <a:extLst>
              <a:ext uri="{FF2B5EF4-FFF2-40B4-BE49-F238E27FC236}">
                <a16:creationId xmlns:a16="http://schemas.microsoft.com/office/drawing/2014/main" id="{E7F1D91A-0EE2-C02B-8450-2E4CAE2A7B17}"/>
              </a:ext>
            </a:extLst>
          </p:cNvPr>
          <p:cNvSpPr/>
          <p:nvPr/>
        </p:nvSpPr>
        <p:spPr>
          <a:xfrm>
            <a:off x="4684265" y="1393459"/>
            <a:ext cx="1884240" cy="1775529"/>
          </a:xfrm>
          <a:prstGeom prst="roundRect">
            <a:avLst>
              <a:gd name="adj" fmla="val 10110"/>
            </a:avLst>
          </a:prstGeom>
          <a:blipFill>
            <a:blip r:embed="rId3"/>
            <a:srcRect/>
            <a:stretch>
              <a:fillRect t="-25548" b="-2554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26E2EB7D-6AF1-7773-A6F6-DB2C4C2BAB23}"/>
              </a:ext>
            </a:extLst>
          </p:cNvPr>
          <p:cNvSpPr/>
          <p:nvPr/>
        </p:nvSpPr>
        <p:spPr>
          <a:xfrm>
            <a:off x="6796210" y="3543300"/>
            <a:ext cx="1884240" cy="2016050"/>
          </a:xfrm>
          <a:prstGeom prst="roundRect">
            <a:avLst>
              <a:gd name="adj" fmla="val 10110"/>
            </a:avLst>
          </a:prstGeom>
          <a:blipFill>
            <a:blip r:embed="rId4"/>
            <a:srcRect/>
            <a:stretch>
              <a:fillRect l="-3498" t="-3619" r="-3498" b="1019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3" name="Title 1">
            <a:extLst>
              <a:ext uri="{FF2B5EF4-FFF2-40B4-BE49-F238E27FC236}">
                <a16:creationId xmlns:a16="http://schemas.microsoft.com/office/drawing/2014/main" id="{1881A270-FB60-06B9-94B5-CEFB66BDBDB5}"/>
              </a:ext>
            </a:extLst>
          </p:cNvPr>
          <p:cNvSpPr txBox="1">
            <a:spLocks/>
          </p:cNvSpPr>
          <p:nvPr/>
        </p:nvSpPr>
        <p:spPr>
          <a:xfrm>
            <a:off x="1226989" y="379413"/>
            <a:ext cx="7455051" cy="660092"/>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Coupure du cuivre en 2025</a:t>
            </a:r>
          </a:p>
        </p:txBody>
      </p:sp>
      <p:sp>
        <p:nvSpPr>
          <p:cNvPr id="14" name="!!OVAL_network">
            <a:extLst>
              <a:ext uri="{FF2B5EF4-FFF2-40B4-BE49-F238E27FC236}">
                <a16:creationId xmlns:a16="http://schemas.microsoft.com/office/drawing/2014/main" id="{F32DD03F-94F7-B9DF-54E2-5DE1029C67F8}"/>
              </a:ext>
            </a:extLst>
          </p:cNvPr>
          <p:cNvSpPr>
            <a:spLocks noChangeAspect="1"/>
          </p:cNvSpPr>
          <p:nvPr/>
        </p:nvSpPr>
        <p:spPr>
          <a:xfrm>
            <a:off x="460375" y="385459"/>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15" name="Graphic 14">
            <a:extLst>
              <a:ext uri="{FF2B5EF4-FFF2-40B4-BE49-F238E27FC236}">
                <a16:creationId xmlns:a16="http://schemas.microsoft.com/office/drawing/2014/main" id="{BADB9658-C6BA-99F9-2546-72798E96C8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75" y="518959"/>
            <a:ext cx="381000" cy="381000"/>
          </a:xfrm>
          <a:prstGeom prst="rect">
            <a:avLst/>
          </a:prstGeom>
        </p:spPr>
      </p:pic>
      <p:sp>
        <p:nvSpPr>
          <p:cNvPr id="2" name="Rounded Rectangle 1">
            <a:extLst>
              <a:ext uri="{FF2B5EF4-FFF2-40B4-BE49-F238E27FC236}">
                <a16:creationId xmlns:a16="http://schemas.microsoft.com/office/drawing/2014/main" id="{FE995C76-97B6-FC0A-A745-20752BF13FD2}"/>
              </a:ext>
            </a:extLst>
          </p:cNvPr>
          <p:cNvSpPr/>
          <p:nvPr/>
        </p:nvSpPr>
        <p:spPr>
          <a:xfrm>
            <a:off x="460375" y="2902744"/>
            <a:ext cx="1884240" cy="2583656"/>
          </a:xfrm>
          <a:prstGeom prst="roundRect">
            <a:avLst>
              <a:gd name="adj" fmla="val 10110"/>
            </a:avLst>
          </a:prstGeom>
          <a:blipFill>
            <a:blip r:embed="rId7"/>
            <a:srcRect/>
            <a:stretch>
              <a:fillRect l="-33835" r="-68611" b="9996"/>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21" name="Graphic 20">
            <a:extLst>
              <a:ext uri="{FF2B5EF4-FFF2-40B4-BE49-F238E27FC236}">
                <a16:creationId xmlns:a16="http://schemas.microsoft.com/office/drawing/2014/main" id="{252C1985-4677-2301-0CA3-EFF9CFDEC8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67123" y="2999430"/>
            <a:ext cx="355600" cy="342900"/>
          </a:xfrm>
          <a:prstGeom prst="rect">
            <a:avLst/>
          </a:prstGeom>
        </p:spPr>
      </p:pic>
      <p:pic>
        <p:nvPicPr>
          <p:cNvPr id="23" name="Graphic 22">
            <a:extLst>
              <a:ext uri="{FF2B5EF4-FFF2-40B4-BE49-F238E27FC236}">
                <a16:creationId xmlns:a16="http://schemas.microsoft.com/office/drawing/2014/main" id="{2CE1C615-0D24-7154-3714-CA32953723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73637" y="2296228"/>
            <a:ext cx="355600" cy="355600"/>
          </a:xfrm>
          <a:prstGeom prst="rect">
            <a:avLst/>
          </a:prstGeom>
        </p:spPr>
      </p:pic>
    </p:spTree>
    <p:extLst>
      <p:ext uri="{BB962C8B-B14F-4D97-AF65-F5344CB8AC3E}">
        <p14:creationId xmlns:p14="http://schemas.microsoft.com/office/powerpoint/2010/main" val="31448814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BC0CC-E55F-F2D8-3F4E-884460209B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EE1F80-FB14-FB94-BF91-C81A45E6FB33}"/>
              </a:ext>
            </a:extLst>
          </p:cNvPr>
          <p:cNvSpPr>
            <a:spLocks noGrp="1"/>
          </p:cNvSpPr>
          <p:nvPr>
            <p:ph type="title"/>
          </p:nvPr>
        </p:nvSpPr>
        <p:spPr>
          <a:xfrm>
            <a:off x="1226989" y="377826"/>
            <a:ext cx="7455051" cy="660092"/>
          </a:xfrm>
        </p:spPr>
        <p:txBody>
          <a:bodyPr anchor="ctr"/>
          <a:lstStyle/>
          <a:p>
            <a:r>
              <a:t>Texte :</a:t>
            </a:r>
          </a:p>
          <a:p>
            <a:r>
              <a:t>Déphasage de construction</a:t>
            </a:r>
          </a:p>
        </p:txBody>
      </p:sp>
      <p:sp>
        <p:nvSpPr>
          <p:cNvPr id="39" name="!!OVAL_network">
            <a:extLst>
              <a:ext uri="{FF2B5EF4-FFF2-40B4-BE49-F238E27FC236}">
                <a16:creationId xmlns:a16="http://schemas.microsoft.com/office/drawing/2014/main" id="{F96653BE-8CE0-3166-820A-6B126D46DC5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AA8DA7BD-A13F-B0C3-0504-14BDB2CE6A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3875" y="517372"/>
            <a:ext cx="381000" cy="381000"/>
          </a:xfrm>
          <a:prstGeom prst="rect">
            <a:avLst/>
          </a:prstGeom>
        </p:spPr>
      </p:pic>
      <p:graphicFrame>
        <p:nvGraphicFramePr>
          <p:cNvPr id="20" name="Chart 19">
            <a:extLst>
              <a:ext uri="{FF2B5EF4-FFF2-40B4-BE49-F238E27FC236}">
                <a16:creationId xmlns:a16="http://schemas.microsoft.com/office/drawing/2014/main" id="{172A7040-280F-EC1C-856C-43F8CE0AD580}"/>
              </a:ext>
            </a:extLst>
          </p:cNvPr>
          <p:cNvGraphicFramePr/>
          <p:nvPr>
            <p:custDataLst>
              <p:tags r:id="rId1"/>
            </p:custDataLst>
            <p:extLst>
              <p:ext uri="{D42A27DB-BD31-4B8C-83A1-F6EECF244321}">
                <p14:modId xmlns:p14="http://schemas.microsoft.com/office/powerpoint/2010/main" val="2975411027"/>
              </p:ext>
            </p:extLst>
          </p:nvPr>
        </p:nvGraphicFramePr>
        <p:xfrm>
          <a:off x="5013076" y="1554669"/>
          <a:ext cx="1295400" cy="1295400"/>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B59E2315-8ADB-1893-73C2-B1B68FB6853B}"/>
              </a:ext>
            </a:extLst>
          </p:cNvPr>
          <p:cNvSpPr txBox="1"/>
          <p:nvPr/>
        </p:nvSpPr>
        <p:spPr>
          <a:xfrm>
            <a:off x="5050377" y="2794448"/>
            <a:ext cx="1121079" cy="276999"/>
          </a:xfrm>
          <a:prstGeom prst="rect">
            <a:avLst/>
          </a:prstGeom>
          <a:noFill/>
          <a:ln w="9525">
            <a:noFill/>
          </a:ln>
        </p:spPr>
        <p:txBody>
          <a:bodyPr vert="horz" wrap="square" lIns="0" tIns="0" rIns="0" bIns="0" rtlCol="0">
            <a:spAutoFit/>
          </a:bodyPr>
          <a:lstStyle/>
          <a:p>
            <a:r>
              <a:t>Texte :</a:t>
            </a:r>
          </a:p>
          <a:p>
            <a:r>
              <a:t>Réduction estimée des actifs de télécommunication1</a:t>
            </a:r>
          </a:p>
        </p:txBody>
      </p:sp>
      <p:sp>
        <p:nvSpPr>
          <p:cNvPr id="23" name="TextBox 22">
            <a:extLst>
              <a:ext uri="{FF2B5EF4-FFF2-40B4-BE49-F238E27FC236}">
                <a16:creationId xmlns:a16="http://schemas.microsoft.com/office/drawing/2014/main" id="{9EBE47DC-3670-D80B-5C6B-9776F0676990}"/>
              </a:ext>
            </a:extLst>
          </p:cNvPr>
          <p:cNvSpPr txBox="1"/>
          <p:nvPr/>
        </p:nvSpPr>
        <p:spPr>
          <a:xfrm>
            <a:off x="5131479" y="2067394"/>
            <a:ext cx="915059" cy="277813"/>
          </a:xfrm>
          <a:prstGeom prst="rect">
            <a:avLst/>
          </a:prstGeom>
          <a:noFill/>
          <a:ln w="9525">
            <a:noFill/>
          </a:ln>
        </p:spPr>
        <p:txBody>
          <a:bodyPr vert="horz" wrap="square" lIns="0" tIns="0" rIns="0" bIns="0" rtlCol="0">
            <a:spAutoFit/>
          </a:bodyPr>
          <a:lstStyle/>
          <a:p>
            <a:r>
              <a:t>Texte :</a:t>
            </a:r>
          </a:p>
          <a:p>
            <a:r>
              <a:t>-80%</a:t>
            </a:r>
          </a:p>
        </p:txBody>
      </p:sp>
      <p:sp>
        <p:nvSpPr>
          <p:cNvPr id="24" name="TextBox 23">
            <a:extLst>
              <a:ext uri="{FF2B5EF4-FFF2-40B4-BE49-F238E27FC236}">
                <a16:creationId xmlns:a16="http://schemas.microsoft.com/office/drawing/2014/main" id="{403CE497-EC1D-3EC1-B0AD-C7D4A7D8EA7B}"/>
              </a:ext>
            </a:extLst>
          </p:cNvPr>
          <p:cNvSpPr txBox="1"/>
          <p:nvPr/>
        </p:nvSpPr>
        <p:spPr>
          <a:xfrm>
            <a:off x="460375" y="4704228"/>
            <a:ext cx="4054242" cy="110800"/>
          </a:xfrm>
          <a:prstGeom prst="rect">
            <a:avLst/>
          </a:prstGeom>
          <a:noFill/>
          <a:ln w="9525">
            <a:noFill/>
          </a:ln>
        </p:spPr>
        <p:txBody>
          <a:bodyPr vert="horz" wrap="square" lIns="0" tIns="0" rIns="0" bIns="0" rtlCol="0">
            <a:spAutoFit/>
          </a:bodyPr>
          <a:lstStyle/>
          <a:p>
            <a:r>
              <a:t>Texte :</a:t>
            </a:r>
          </a:p>
          <a:p>
            <a:r>
              <a:t>1À l'exclusion des centres de données et des sites d'antennes / pylônes</a:t>
            </a:r>
          </a:p>
        </p:txBody>
      </p:sp>
      <p:graphicFrame>
        <p:nvGraphicFramePr>
          <p:cNvPr id="25" name="Chart 24">
            <a:extLst>
              <a:ext uri="{FF2B5EF4-FFF2-40B4-BE49-F238E27FC236}">
                <a16:creationId xmlns:a16="http://schemas.microsoft.com/office/drawing/2014/main" id="{47B35F13-6319-C418-29DE-A78BE714ADA0}"/>
              </a:ext>
            </a:extLst>
          </p:cNvPr>
          <p:cNvGraphicFramePr/>
          <p:nvPr>
            <p:custDataLst>
              <p:tags r:id="rId2"/>
            </p:custDataLst>
            <p:extLst>
              <p:ext uri="{D42A27DB-BD31-4B8C-83A1-F6EECF244321}">
                <p14:modId xmlns:p14="http://schemas.microsoft.com/office/powerpoint/2010/main" val="852243570"/>
              </p:ext>
            </p:extLst>
          </p:nvPr>
        </p:nvGraphicFramePr>
        <p:xfrm>
          <a:off x="4917166" y="3125118"/>
          <a:ext cx="1295400" cy="1295400"/>
        </p:xfrm>
        <a:graphic>
          <a:graphicData uri="http://schemas.openxmlformats.org/drawingml/2006/chart">
            <c:chart xmlns:c="http://schemas.openxmlformats.org/drawingml/2006/chart" xmlns:r="http://schemas.openxmlformats.org/officeDocument/2006/relationships" r:id="rId9"/>
          </a:graphicData>
        </a:graphic>
      </p:graphicFrame>
      <p:sp>
        <p:nvSpPr>
          <p:cNvPr id="26" name="TextBox 25">
            <a:extLst>
              <a:ext uri="{FF2B5EF4-FFF2-40B4-BE49-F238E27FC236}">
                <a16:creationId xmlns:a16="http://schemas.microsoft.com/office/drawing/2014/main" id="{FDD01A0D-ECEA-E2DB-98AF-1C6FC3EC5DA5}"/>
              </a:ext>
            </a:extLst>
          </p:cNvPr>
          <p:cNvSpPr txBox="1"/>
          <p:nvPr/>
        </p:nvSpPr>
        <p:spPr>
          <a:xfrm>
            <a:off x="5131479" y="3661833"/>
            <a:ext cx="866775" cy="276225"/>
          </a:xfrm>
          <a:prstGeom prst="rect">
            <a:avLst/>
          </a:prstGeom>
          <a:noFill/>
          <a:ln w="9525">
            <a:noFill/>
          </a:ln>
        </p:spPr>
        <p:txBody>
          <a:bodyPr vert="horz" wrap="square" lIns="0" tIns="0" rIns="0" bIns="0" rtlCol="0">
            <a:spAutoFit/>
          </a:bodyPr>
          <a:lstStyle/>
          <a:p>
            <a:r>
              <a:t>Texte :</a:t>
            </a:r>
          </a:p>
          <a:p>
            <a:r>
              <a:t>-94%</a:t>
            </a:r>
          </a:p>
        </p:txBody>
      </p:sp>
      <p:graphicFrame>
        <p:nvGraphicFramePr>
          <p:cNvPr id="31" name="Chart 30">
            <a:extLst>
              <a:ext uri="{FF2B5EF4-FFF2-40B4-BE49-F238E27FC236}">
                <a16:creationId xmlns:a16="http://schemas.microsoft.com/office/drawing/2014/main" id="{26994BB4-DA7B-79E5-C049-CE67A3CBEAA4}"/>
              </a:ext>
            </a:extLst>
          </p:cNvPr>
          <p:cNvGraphicFramePr/>
          <p:nvPr>
            <p:custDataLst>
              <p:tags r:id="rId3"/>
            </p:custDataLst>
            <p:extLst>
              <p:ext uri="{D42A27DB-BD31-4B8C-83A1-F6EECF244321}">
                <p14:modId xmlns:p14="http://schemas.microsoft.com/office/powerpoint/2010/main" val="680600052"/>
              </p:ext>
            </p:extLst>
          </p:nvPr>
        </p:nvGraphicFramePr>
        <p:xfrm>
          <a:off x="6683642" y="1536951"/>
          <a:ext cx="1295400" cy="1295400"/>
        </p:xfrm>
        <a:graphic>
          <a:graphicData uri="http://schemas.openxmlformats.org/drawingml/2006/chart">
            <c:chart xmlns:c="http://schemas.openxmlformats.org/drawingml/2006/chart" xmlns:r="http://schemas.openxmlformats.org/officeDocument/2006/relationships" r:id="rId10"/>
          </a:graphicData>
        </a:graphic>
      </p:graphicFrame>
      <p:sp>
        <p:nvSpPr>
          <p:cNvPr id="32" name="TextBox 31">
            <a:extLst>
              <a:ext uri="{FF2B5EF4-FFF2-40B4-BE49-F238E27FC236}">
                <a16:creationId xmlns:a16="http://schemas.microsoft.com/office/drawing/2014/main" id="{96AE6D44-22FE-4A2D-299D-B4F0D812C6DC}"/>
              </a:ext>
            </a:extLst>
          </p:cNvPr>
          <p:cNvSpPr txBox="1"/>
          <p:nvPr/>
        </p:nvSpPr>
        <p:spPr>
          <a:xfrm>
            <a:off x="6897954" y="2069602"/>
            <a:ext cx="866775" cy="276225"/>
          </a:xfrm>
          <a:prstGeom prst="rect">
            <a:avLst/>
          </a:prstGeom>
          <a:noFill/>
          <a:ln w="9525">
            <a:noFill/>
          </a:ln>
        </p:spPr>
        <p:txBody>
          <a:bodyPr vert="horz" wrap="square" lIns="0" tIns="0" rIns="0" bIns="0" rtlCol="0">
            <a:spAutoFit/>
          </a:bodyPr>
          <a:lstStyle/>
          <a:p>
            <a:r>
              <a:t>Texte :</a:t>
            </a:r>
          </a:p>
          <a:p>
            <a:r>
              <a:t>-56%</a:t>
            </a:r>
          </a:p>
        </p:txBody>
      </p:sp>
      <p:sp>
        <p:nvSpPr>
          <p:cNvPr id="3" name="Rounded Rectangle 16">
            <a:extLst>
              <a:ext uri="{FF2B5EF4-FFF2-40B4-BE49-F238E27FC236}">
                <a16:creationId xmlns:a16="http://schemas.microsoft.com/office/drawing/2014/main" id="{AC52999E-9078-38E4-1A4A-8BFF2AEE0321}"/>
              </a:ext>
            </a:extLst>
          </p:cNvPr>
          <p:cNvSpPr/>
          <p:nvPr/>
        </p:nvSpPr>
        <p:spPr>
          <a:xfrm>
            <a:off x="461965" y="1090687"/>
            <a:ext cx="8220075" cy="578050"/>
          </a:xfrm>
          <a:prstGeom prst="roundRect">
            <a:avLst>
              <a:gd name="adj" fmla="val 2317"/>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r>
              <a:t>Texte :</a:t>
            </a:r>
          </a:p>
          <a:p>
            <a:r>
              <a:t>La transition du réseau présente une opportunité pour rationaliser notre portefeuille immobilier, permettant la génération de liquidités, des économies durables et une réduction des émissions de carbone.</a:t>
            </a:r>
          </a:p>
        </p:txBody>
      </p:sp>
      <p:pic>
        <p:nvPicPr>
          <p:cNvPr id="9" name="Graphic 8">
            <a:extLst>
              <a:ext uri="{FF2B5EF4-FFF2-40B4-BE49-F238E27FC236}">
                <a16:creationId xmlns:a16="http://schemas.microsoft.com/office/drawing/2014/main" id="{15CD32AA-7C35-BF86-91EF-544081CB8C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31876" y="3130227"/>
            <a:ext cx="355600" cy="304800"/>
          </a:xfrm>
          <a:prstGeom prst="rect">
            <a:avLst/>
          </a:prstGeom>
        </p:spPr>
      </p:pic>
      <p:pic>
        <p:nvPicPr>
          <p:cNvPr id="10" name="Graphic 9">
            <a:extLst>
              <a:ext uri="{FF2B5EF4-FFF2-40B4-BE49-F238E27FC236}">
                <a16:creationId xmlns:a16="http://schemas.microsoft.com/office/drawing/2014/main" id="{EED433C1-4DB6-9DEC-6A5F-69FF3C7C58B5}"/>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547145" y="1536802"/>
            <a:ext cx="316088" cy="304800"/>
          </a:xfrm>
          <a:prstGeom prst="rect">
            <a:avLst/>
          </a:prstGeom>
        </p:spPr>
      </p:pic>
      <p:pic>
        <p:nvPicPr>
          <p:cNvPr id="18" name="Graphic 17">
            <a:extLst>
              <a:ext uri="{FF2B5EF4-FFF2-40B4-BE49-F238E27FC236}">
                <a16:creationId xmlns:a16="http://schemas.microsoft.com/office/drawing/2014/main" id="{6A5296EC-98A5-1020-0A76-8021D3C8B10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4685086" y="1578587"/>
            <a:ext cx="272142" cy="304800"/>
          </a:xfrm>
          <a:prstGeom prst="rect">
            <a:avLst/>
          </a:prstGeom>
        </p:spPr>
      </p:pic>
      <p:pic>
        <p:nvPicPr>
          <p:cNvPr id="30" name="Picture 17">
            <a:extLst>
              <a:ext uri="{FF2B5EF4-FFF2-40B4-BE49-F238E27FC236}">
                <a16:creationId xmlns:a16="http://schemas.microsoft.com/office/drawing/2014/main" id="{4B214EB0-924D-B56D-9A67-A2BB849AAF3D}"/>
              </a:ext>
            </a:extLst>
          </p:cNvPr>
          <p:cNvPicPr>
            <a:picLocks/>
          </p:cNvPicPr>
          <p:nvPr/>
        </p:nvPicPr>
        <p:blipFill>
          <a:blip r:embed="rId17"/>
          <a:srcRect l="10748" t="9812" r="16886" b="-6882"/>
          <a:stretch/>
        </p:blipFill>
        <p:spPr>
          <a:xfrm>
            <a:off x="461500" y="1931550"/>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37" name="TextBox 22">
            <a:extLst>
              <a:ext uri="{FF2B5EF4-FFF2-40B4-BE49-F238E27FC236}">
                <a16:creationId xmlns:a16="http://schemas.microsoft.com/office/drawing/2014/main" id="{20FAC117-78B3-2FE4-C1BC-1555C96D8FBA}"/>
              </a:ext>
            </a:extLst>
          </p:cNvPr>
          <p:cNvSpPr txBox="1"/>
          <p:nvPr/>
        </p:nvSpPr>
        <p:spPr>
          <a:xfrm>
            <a:off x="461500" y="2740963"/>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 :</a:t>
            </a:r>
          </a:p>
          <a:p>
            <a:r>
              <a:t>Nœuds de service</a:t>
            </a:r>
          </a:p>
        </p:txBody>
      </p:sp>
      <p:pic>
        <p:nvPicPr>
          <p:cNvPr id="41" name="Picture 17">
            <a:extLst>
              <a:ext uri="{FF2B5EF4-FFF2-40B4-BE49-F238E27FC236}">
                <a16:creationId xmlns:a16="http://schemas.microsoft.com/office/drawing/2014/main" id="{5906E13F-D8F7-5D8C-6906-40831105E49E}"/>
              </a:ext>
            </a:extLst>
          </p:cNvPr>
          <p:cNvPicPr>
            <a:picLocks/>
          </p:cNvPicPr>
          <p:nvPr/>
        </p:nvPicPr>
        <p:blipFill>
          <a:blip r:embed="rId20"/>
          <a:srcRect l="13257" r="13257"/>
          <a:stretch/>
        </p:blipFill>
        <p:spPr>
          <a:xfrm>
            <a:off x="1812658" y="1931550"/>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2" name="TextBox 22">
            <a:extLst>
              <a:ext uri="{FF2B5EF4-FFF2-40B4-BE49-F238E27FC236}">
                <a16:creationId xmlns:a16="http://schemas.microsoft.com/office/drawing/2014/main" id="{B81E5926-4ABB-FE30-6891-A2B9EAAC7C1C}"/>
              </a:ext>
            </a:extLst>
          </p:cNvPr>
          <p:cNvSpPr txBox="1"/>
          <p:nvPr/>
        </p:nvSpPr>
        <p:spPr>
          <a:xfrm>
            <a:off x="1812658" y="2740963"/>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 :</a:t>
            </a:r>
          </a:p>
          <a:p>
            <a:r>
              <a:t>Nœuds d'agrégation</a:t>
            </a:r>
          </a:p>
        </p:txBody>
      </p:sp>
      <p:pic>
        <p:nvPicPr>
          <p:cNvPr id="43" name="Picture 17">
            <a:extLst>
              <a:ext uri="{FF2B5EF4-FFF2-40B4-BE49-F238E27FC236}">
                <a16:creationId xmlns:a16="http://schemas.microsoft.com/office/drawing/2014/main" id="{8F6E2D0A-D6DB-8760-5BA4-6748FF44A624}"/>
              </a:ext>
            </a:extLst>
          </p:cNvPr>
          <p:cNvPicPr>
            <a:picLocks/>
          </p:cNvPicPr>
          <p:nvPr/>
        </p:nvPicPr>
        <p:blipFill>
          <a:blip r:embed="rId21"/>
          <a:srcRect l="12916" r="12916"/>
          <a:stretch/>
        </p:blipFill>
        <p:spPr>
          <a:xfrm>
            <a:off x="461500" y="3210335"/>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4" name="TextBox 22">
            <a:extLst>
              <a:ext uri="{FF2B5EF4-FFF2-40B4-BE49-F238E27FC236}">
                <a16:creationId xmlns:a16="http://schemas.microsoft.com/office/drawing/2014/main" id="{53ECABBF-719D-2568-5EB9-AC4EF1D5AD03}"/>
              </a:ext>
            </a:extLst>
          </p:cNvPr>
          <p:cNvSpPr txBox="1"/>
          <p:nvPr/>
        </p:nvSpPr>
        <p:spPr>
          <a:xfrm>
            <a:off x="461500" y="4024667"/>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a:t>
            </a:r>
          </a:p>
          <a:p>
            <a:r>
              <a:t>LEX</a:t>
            </a:r>
          </a:p>
        </p:txBody>
      </p:sp>
      <p:pic>
        <p:nvPicPr>
          <p:cNvPr id="45" name="Picture 17">
            <a:extLst>
              <a:ext uri="{FF2B5EF4-FFF2-40B4-BE49-F238E27FC236}">
                <a16:creationId xmlns:a16="http://schemas.microsoft.com/office/drawing/2014/main" id="{0D3FAE62-ABC5-3FA7-63D4-63095D99E3A1}"/>
              </a:ext>
            </a:extLst>
          </p:cNvPr>
          <p:cNvPicPr>
            <a:picLocks/>
          </p:cNvPicPr>
          <p:nvPr/>
        </p:nvPicPr>
        <p:blipFill>
          <a:blip r:embed="rId22"/>
          <a:srcRect l="12665" t="4461" r="17127" b="-1"/>
          <a:stretch/>
        </p:blipFill>
        <p:spPr>
          <a:xfrm>
            <a:off x="1812658" y="3210335"/>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6" name="TextBox 22">
            <a:extLst>
              <a:ext uri="{FF2B5EF4-FFF2-40B4-BE49-F238E27FC236}">
                <a16:creationId xmlns:a16="http://schemas.microsoft.com/office/drawing/2014/main" id="{DD40173D-F215-1136-DB67-7EFBD2802B89}"/>
              </a:ext>
            </a:extLst>
          </p:cNvPr>
          <p:cNvSpPr txBox="1"/>
          <p:nvPr/>
        </p:nvSpPr>
        <p:spPr>
          <a:xfrm>
            <a:off x="1812658" y="4024667"/>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a:t>
            </a:r>
          </a:p>
          <a:p>
            <a:r>
              <a:t>LDC</a:t>
            </a:r>
          </a:p>
        </p:txBody>
      </p:sp>
      <p:sp>
        <p:nvSpPr>
          <p:cNvPr id="47" name="TextBox 20">
            <a:extLst>
              <a:ext uri="{FF2B5EF4-FFF2-40B4-BE49-F238E27FC236}">
                <a16:creationId xmlns:a16="http://schemas.microsoft.com/office/drawing/2014/main" id="{951249DB-C3A0-F981-601A-DF3E86A986DA}"/>
              </a:ext>
            </a:extLst>
          </p:cNvPr>
          <p:cNvSpPr txBox="1"/>
          <p:nvPr/>
        </p:nvSpPr>
        <p:spPr>
          <a:xfrm>
            <a:off x="5050376" y="4439381"/>
            <a:ext cx="1121079" cy="276999"/>
          </a:xfrm>
          <a:prstGeom prst="rect">
            <a:avLst/>
          </a:prstGeom>
          <a:noFill/>
          <a:ln w="9525">
            <a:noFill/>
          </a:ln>
        </p:spPr>
        <p:txBody>
          <a:bodyPr vert="horz" wrap="square" lIns="0" tIns="0" rIns="0" bIns="0" rtlCol="0">
            <a:spAutoFit/>
          </a:bodyPr>
          <a:lstStyle/>
          <a:p>
            <a:r>
              <a:t>Texte :</a:t>
            </a:r>
          </a:p>
          <a:p>
            <a:r>
              <a:t>Réduction estimée de la surface de télécommunication1</a:t>
            </a:r>
          </a:p>
        </p:txBody>
      </p:sp>
      <p:sp>
        <p:nvSpPr>
          <p:cNvPr id="48" name="TextBox 20">
            <a:extLst>
              <a:ext uri="{FF2B5EF4-FFF2-40B4-BE49-F238E27FC236}">
                <a16:creationId xmlns:a16="http://schemas.microsoft.com/office/drawing/2014/main" id="{DFF34C45-AB5C-A12E-8C38-4BE73D3DB1A5}"/>
              </a:ext>
            </a:extLst>
          </p:cNvPr>
          <p:cNvSpPr txBox="1"/>
          <p:nvPr/>
        </p:nvSpPr>
        <p:spPr>
          <a:xfrm>
            <a:off x="6640306" y="2794448"/>
            <a:ext cx="1490114" cy="276999"/>
          </a:xfrm>
          <a:prstGeom prst="rect">
            <a:avLst/>
          </a:prstGeom>
          <a:noFill/>
          <a:ln w="9525">
            <a:noFill/>
          </a:ln>
        </p:spPr>
        <p:txBody>
          <a:bodyPr vert="horz" wrap="square" lIns="0" tIns="0" rIns="0" bIns="0" rtlCol="0">
            <a:spAutoFit/>
          </a:bodyPr>
          <a:lstStyle/>
          <a:p>
            <a:r>
              <a:t>Réduction estimée de l'empreinte carbone</a:t>
            </a:r>
          </a:p>
        </p:txBody>
      </p:sp>
      <p:sp>
        <p:nvSpPr>
          <p:cNvPr id="49" name="Text Placeholder 4">
            <a:extLst>
              <a:ext uri="{FF2B5EF4-FFF2-40B4-BE49-F238E27FC236}">
                <a16:creationId xmlns:a16="http://schemas.microsoft.com/office/drawing/2014/main" id="{F64A3256-8CCE-77C7-53BB-E956C785181A}"/>
              </a:ext>
            </a:extLst>
          </p:cNvPr>
          <p:cNvSpPr txBox="1">
            <a:spLocks/>
          </p:cNvSpPr>
          <p:nvPr/>
        </p:nvSpPr>
        <p:spPr>
          <a:xfrm>
            <a:off x="3103752" y="1931550"/>
            <a:ext cx="1295400" cy="2296323"/>
          </a:xfrm>
          <a:prstGeom prst="roundRect">
            <a:avLst>
              <a:gd name="adj" fmla="val 1470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Proximus possède plus de 800 bâtiments pour équipements de télécommunications</a:t>
            </a:r>
          </a:p>
        </p:txBody>
      </p:sp>
      <p:sp>
        <p:nvSpPr>
          <p:cNvPr id="50" name="Text Placeholder 4">
            <a:extLst>
              <a:ext uri="{FF2B5EF4-FFF2-40B4-BE49-F238E27FC236}">
                <a16:creationId xmlns:a16="http://schemas.microsoft.com/office/drawing/2014/main" id="{4DFF56FA-142A-CB10-D902-ABF17CC0F6B5}"/>
              </a:ext>
            </a:extLst>
          </p:cNvPr>
          <p:cNvSpPr txBox="1">
            <a:spLocks/>
          </p:cNvSpPr>
          <p:nvPr/>
        </p:nvSpPr>
        <p:spPr>
          <a:xfrm>
            <a:off x="6426879" y="3226413"/>
            <a:ext cx="1868539" cy="1117567"/>
          </a:xfrm>
          <a:prstGeom prst="roundRect">
            <a:avLst>
              <a:gd name="adj" fmla="val 10195"/>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505 bâtiments</a:t>
            </a:r>
          </a:p>
          <a:p>
            <a:r>
              <a:t>à démanteler</a:t>
            </a:r>
          </a:p>
          <a:p>
            <a:r>
              <a:t>de ‘24 à ‘40</a:t>
            </a:r>
          </a:p>
        </p:txBody>
      </p:sp>
    </p:spTree>
    <p:extLst>
      <p:ext uri="{BB962C8B-B14F-4D97-AF65-F5344CB8AC3E}">
        <p14:creationId xmlns:p14="http://schemas.microsoft.com/office/powerpoint/2010/main" val="9232868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9FC80-0036-B067-AD5C-01CC2C98FE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509028-65B9-A42F-3D41-3F4DF3FE3DE3}"/>
              </a:ext>
            </a:extLst>
          </p:cNvPr>
          <p:cNvSpPr>
            <a:spLocks noGrp="1"/>
          </p:cNvSpPr>
          <p:nvPr>
            <p:ph type="title"/>
          </p:nvPr>
        </p:nvSpPr>
        <p:spPr>
          <a:xfrm>
            <a:off x="1226989" y="377826"/>
            <a:ext cx="7455051" cy="660092"/>
          </a:xfrm>
        </p:spPr>
        <p:txBody>
          <a:bodyPr anchor="ctr"/>
          <a:lstStyle/>
          <a:p>
            <a:r>
              <a:t>Texte :</a:t>
            </a:r>
          </a:p>
          <a:p>
            <a:r>
              <a:t>Déphasage de construction</a:t>
            </a:r>
          </a:p>
        </p:txBody>
      </p:sp>
      <p:sp>
        <p:nvSpPr>
          <p:cNvPr id="39" name="!!OVAL_network">
            <a:extLst>
              <a:ext uri="{FF2B5EF4-FFF2-40B4-BE49-F238E27FC236}">
                <a16:creationId xmlns:a16="http://schemas.microsoft.com/office/drawing/2014/main" id="{94AF0591-2309-D779-2B1E-99BD1EB56A7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4DA1FCA8-3F27-EA10-685D-A7EB66EE0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Rounded Rectangle 16">
            <a:extLst>
              <a:ext uri="{FF2B5EF4-FFF2-40B4-BE49-F238E27FC236}">
                <a16:creationId xmlns:a16="http://schemas.microsoft.com/office/drawing/2014/main" id="{2319ADA7-56F6-23D8-8EC8-C4F8AD19DE62}"/>
              </a:ext>
            </a:extLst>
          </p:cNvPr>
          <p:cNvSpPr/>
          <p:nvPr/>
        </p:nvSpPr>
        <p:spPr>
          <a:xfrm>
            <a:off x="461965" y="1090687"/>
            <a:ext cx="8220075" cy="578050"/>
          </a:xfrm>
          <a:prstGeom prst="roundRect">
            <a:avLst>
              <a:gd name="adj" fmla="val 2317"/>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r>
              <a:t>Texte :</a:t>
            </a:r>
          </a:p>
          <a:p>
            <a:r>
              <a:t>Bâtiments ... transformés en solutions ultra compactes</a:t>
            </a:r>
          </a:p>
        </p:txBody>
      </p:sp>
      <p:pic>
        <p:nvPicPr>
          <p:cNvPr id="30" name="Picture 17">
            <a:extLst>
              <a:ext uri="{FF2B5EF4-FFF2-40B4-BE49-F238E27FC236}">
                <a16:creationId xmlns:a16="http://schemas.microsoft.com/office/drawing/2014/main" id="{C383A67C-2A40-5982-0534-52D6CD97720C}"/>
              </a:ext>
            </a:extLst>
          </p:cNvPr>
          <p:cNvPicPr>
            <a:picLocks/>
          </p:cNvPicPr>
          <p:nvPr/>
        </p:nvPicPr>
        <p:blipFill>
          <a:blip r:embed="rId5"/>
          <a:srcRect l="9370" t="4152" r="13523"/>
          <a:stretch/>
        </p:blipFill>
        <p:spPr>
          <a:xfrm>
            <a:off x="460375" y="1532079"/>
            <a:ext cx="1181238" cy="1017538"/>
          </a:xfrm>
          <a:prstGeom prst="round2SameRect">
            <a:avLst>
              <a:gd name="adj1" fmla="val 7737"/>
              <a:gd name="adj2" fmla="val 7671"/>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37" name="TextBox 22">
            <a:extLst>
              <a:ext uri="{FF2B5EF4-FFF2-40B4-BE49-F238E27FC236}">
                <a16:creationId xmlns:a16="http://schemas.microsoft.com/office/drawing/2014/main" id="{6B3DA3A0-7C5B-D326-D90F-95EEFEF30DD2}"/>
              </a:ext>
            </a:extLst>
          </p:cNvPr>
          <p:cNvSpPr txBox="1"/>
          <p:nvPr/>
        </p:nvSpPr>
        <p:spPr>
          <a:xfrm>
            <a:off x="460375" y="2341492"/>
            <a:ext cx="1181238" cy="208126"/>
          </a:xfrm>
          <a:prstGeom prst="round2SameRect">
            <a:avLst>
              <a:gd name="adj1" fmla="val 0"/>
              <a:gd name="adj2" fmla="val 3572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a:t>
            </a:r>
          </a:p>
          <a:p>
            <a:r>
              <a:t>OVD</a:t>
            </a:r>
          </a:p>
          <a:p/>
          <a:p>
            <a:r>
              <a:t>(Note: "OVD" is an abbreviation and without additional context, it's unclear what it stands for in Dutch or how it should be translated into French. It could potentially stand for something specific in a professional or technical field, so further context would be needed for an accurate translation.)</a:t>
            </a:r>
          </a:p>
        </p:txBody>
      </p:sp>
      <p:pic>
        <p:nvPicPr>
          <p:cNvPr id="41" name="Picture 17">
            <a:extLst>
              <a:ext uri="{FF2B5EF4-FFF2-40B4-BE49-F238E27FC236}">
                <a16:creationId xmlns:a16="http://schemas.microsoft.com/office/drawing/2014/main" id="{DC37B7EB-EA76-680C-0BA8-1617F7C5A9F5}"/>
              </a:ext>
            </a:extLst>
          </p:cNvPr>
          <p:cNvPicPr>
            <a:picLocks/>
          </p:cNvPicPr>
          <p:nvPr/>
        </p:nvPicPr>
        <p:blipFill>
          <a:blip r:embed="rId8"/>
          <a:srcRect t="7955" b="7955"/>
          <a:stretch/>
        </p:blipFill>
        <p:spPr>
          <a:xfrm>
            <a:off x="460375" y="2607740"/>
            <a:ext cx="1181238" cy="1017538"/>
          </a:xfrm>
          <a:prstGeom prst="round2SameRect">
            <a:avLst>
              <a:gd name="adj1" fmla="val 7371"/>
              <a:gd name="adj2" fmla="val 9863"/>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42" name="TextBox 22">
            <a:extLst>
              <a:ext uri="{FF2B5EF4-FFF2-40B4-BE49-F238E27FC236}">
                <a16:creationId xmlns:a16="http://schemas.microsoft.com/office/drawing/2014/main" id="{349DDDA6-F3D3-E97A-B075-AE9D90CB2886}"/>
              </a:ext>
            </a:extLst>
          </p:cNvPr>
          <p:cNvSpPr txBox="1"/>
          <p:nvPr/>
        </p:nvSpPr>
        <p:spPr>
          <a:xfrm>
            <a:off x="460375" y="3417153"/>
            <a:ext cx="1181238" cy="208126"/>
          </a:xfrm>
          <a:prstGeom prst="round2SameRect">
            <a:avLst>
              <a:gd name="adj1" fmla="val 0"/>
              <a:gd name="adj2" fmla="val 44649"/>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a:t>
            </a:r>
          </a:p>
          <a:p>
            <a:r>
              <a:t>Optimus</a:t>
            </a:r>
          </a:p>
        </p:txBody>
      </p:sp>
      <p:pic>
        <p:nvPicPr>
          <p:cNvPr id="43" name="Picture 17">
            <a:extLst>
              <a:ext uri="{FF2B5EF4-FFF2-40B4-BE49-F238E27FC236}">
                <a16:creationId xmlns:a16="http://schemas.microsoft.com/office/drawing/2014/main" id="{D97D2723-EA55-B8F8-CC69-F8736FC8045A}"/>
              </a:ext>
            </a:extLst>
          </p:cNvPr>
          <p:cNvPicPr>
            <a:picLocks/>
          </p:cNvPicPr>
          <p:nvPr/>
        </p:nvPicPr>
        <p:blipFill rotWithShape="1">
          <a:blip r:embed="rId9"/>
          <a:srcRect t="7244" r="1566" b="5679"/>
          <a:stretch/>
        </p:blipFill>
        <p:spPr>
          <a:xfrm>
            <a:off x="461500" y="3680402"/>
            <a:ext cx="1181238" cy="1017538"/>
          </a:xfrm>
          <a:prstGeom prst="round2SameRect">
            <a:avLst>
              <a:gd name="adj1" fmla="val 7006"/>
              <a:gd name="adj2" fmla="val 11324"/>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44" name="TextBox 22">
            <a:extLst>
              <a:ext uri="{FF2B5EF4-FFF2-40B4-BE49-F238E27FC236}">
                <a16:creationId xmlns:a16="http://schemas.microsoft.com/office/drawing/2014/main" id="{036FA643-71F6-0BEB-239A-25495791E0BA}"/>
              </a:ext>
            </a:extLst>
          </p:cNvPr>
          <p:cNvSpPr txBox="1"/>
          <p:nvPr/>
        </p:nvSpPr>
        <p:spPr>
          <a:xfrm>
            <a:off x="461500" y="4489815"/>
            <a:ext cx="1181238" cy="208126"/>
          </a:xfrm>
          <a:prstGeom prst="round2SameRect">
            <a:avLst>
              <a:gd name="adj1" fmla="val 0"/>
              <a:gd name="adj2" fmla="val 46436"/>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r>
              <a:t>Texte:</a:t>
            </a:r>
          </a:p>
          <a:p>
            <a:r>
              <a:t>Atropos</a:t>
            </a:r>
          </a:p>
        </p:txBody>
      </p:sp>
      <p:pic>
        <p:nvPicPr>
          <p:cNvPr id="15" name="Picture 72">
            <a:extLst>
              <a:ext uri="{FF2B5EF4-FFF2-40B4-BE49-F238E27FC236}">
                <a16:creationId xmlns:a16="http://schemas.microsoft.com/office/drawing/2014/main" id="{0BA7545A-2812-C872-3936-BC5DAECDD03B}"/>
              </a:ext>
            </a:extLst>
          </p:cNvPr>
          <p:cNvPicPr preferRelativeResize="0"/>
          <p:nvPr/>
        </p:nvPicPr>
        <p:blipFill>
          <a:blip r:embed="rId10"/>
          <a:stretch>
            <a:fillRect/>
          </a:stretch>
        </p:blipFill>
        <p:spPr>
          <a:xfrm>
            <a:off x="1777804" y="1759651"/>
            <a:ext cx="604467" cy="583957"/>
          </a:xfrm>
          <a:prstGeom prst="ellipse">
            <a:avLst/>
          </a:prstGeom>
          <a:ln w="28575">
            <a:solidFill>
              <a:schemeClr val="bg1"/>
            </a:solidFill>
          </a:ln>
        </p:spPr>
      </p:pic>
      <p:pic>
        <p:nvPicPr>
          <p:cNvPr id="16" name="Picture 73" descr="A picture containing sky, outdoor, platform, railroad&#10;&#10;Description automatically generated">
            <a:extLst>
              <a:ext uri="{FF2B5EF4-FFF2-40B4-BE49-F238E27FC236}">
                <a16:creationId xmlns:a16="http://schemas.microsoft.com/office/drawing/2014/main" id="{649BCAA5-744A-9713-0D83-429EACCC0C6E}"/>
              </a:ext>
            </a:extLst>
          </p:cNvPr>
          <p:cNvPicPr preferRelativeResize="0">
            <a:picLocks noChangeAspect="1"/>
          </p:cNvPicPr>
          <p:nvPr/>
        </p:nvPicPr>
        <p:blipFill>
          <a:blip r:embed="rId11">
            <a:extLst>
              <a:ext uri="{28A0092B-C50C-407E-A947-70E740481C1C}">
                <a14:useLocalDpi xmlns:a14="http://schemas.microsoft.com/office/drawing/2010/main" val="0"/>
              </a:ext>
            </a:extLst>
          </a:blip>
          <a:stretch>
            <a:fillRect/>
          </a:stretch>
        </p:blipFill>
        <p:spPr>
          <a:xfrm>
            <a:off x="1782932" y="2826053"/>
            <a:ext cx="583957" cy="583956"/>
          </a:xfrm>
          <a:prstGeom prst="ellipse">
            <a:avLst/>
          </a:prstGeom>
          <a:ln w="28575">
            <a:solidFill>
              <a:schemeClr val="bg1"/>
            </a:solidFill>
          </a:ln>
        </p:spPr>
      </p:pic>
      <p:pic>
        <p:nvPicPr>
          <p:cNvPr id="17" name="Picture 74">
            <a:extLst>
              <a:ext uri="{FF2B5EF4-FFF2-40B4-BE49-F238E27FC236}">
                <a16:creationId xmlns:a16="http://schemas.microsoft.com/office/drawing/2014/main" id="{6037CC33-C142-C13D-0D05-E3732C2AFDD8}"/>
              </a:ext>
            </a:extLst>
          </p:cNvPr>
          <p:cNvPicPr preferRelativeResize="0">
            <a:picLocks noChangeAspect="1"/>
          </p:cNvPicPr>
          <p:nvPr/>
        </p:nvPicPr>
        <p:blipFill>
          <a:blip r:embed="rId12"/>
          <a:stretch>
            <a:fillRect/>
          </a:stretch>
        </p:blipFill>
        <p:spPr>
          <a:xfrm>
            <a:off x="1777804" y="3897193"/>
            <a:ext cx="583957" cy="583956"/>
          </a:xfrm>
          <a:prstGeom prst="ellipse">
            <a:avLst/>
          </a:prstGeom>
          <a:ln w="28575">
            <a:solidFill>
              <a:schemeClr val="bg1"/>
            </a:solidFill>
          </a:ln>
        </p:spPr>
      </p:pic>
      <p:sp>
        <p:nvSpPr>
          <p:cNvPr id="27" name="Text Placeholder 4">
            <a:extLst>
              <a:ext uri="{FF2B5EF4-FFF2-40B4-BE49-F238E27FC236}">
                <a16:creationId xmlns:a16="http://schemas.microsoft.com/office/drawing/2014/main" id="{CFBDF491-FA7F-B919-2C7F-498A7ADB5A7D}"/>
              </a:ext>
            </a:extLst>
          </p:cNvPr>
          <p:cNvSpPr txBox="1">
            <a:spLocks/>
          </p:cNvSpPr>
          <p:nvPr/>
        </p:nvSpPr>
        <p:spPr>
          <a:xfrm>
            <a:off x="2686974" y="2304060"/>
            <a:ext cx="1657783" cy="317861"/>
          </a:xfrm>
          <a:prstGeom prst="roundRect">
            <a:avLst>
              <a:gd name="adj" fmla="val 11491"/>
            </a:avLst>
          </a:prstGeom>
          <a:noFill/>
          <a:effectLst/>
        </p:spPr>
        <p:txBody>
          <a:bodyPr vert="horz" lIns="0" tIns="0" rIns="0" bIns="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Solution industrialisée</a:t>
            </a:r>
          </a:p>
        </p:txBody>
      </p:sp>
      <p:cxnSp>
        <p:nvCxnSpPr>
          <p:cNvPr id="28" name="Rechte verbindingslijn 12">
            <a:extLst>
              <a:ext uri="{FF2B5EF4-FFF2-40B4-BE49-F238E27FC236}">
                <a16:creationId xmlns:a16="http://schemas.microsoft.com/office/drawing/2014/main" id="{900EE578-7149-F499-1BE2-7DF8ACD7F9D3}"/>
              </a:ext>
            </a:extLst>
          </p:cNvPr>
          <p:cNvCxnSpPr>
            <a:cxnSpLocks/>
          </p:cNvCxnSpPr>
          <p:nvPr/>
        </p:nvCxnSpPr>
        <p:spPr>
          <a:xfrm flipV="1">
            <a:off x="2580568" y="1688279"/>
            <a:ext cx="0" cy="1635846"/>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4" name="Rechte verbindingslijn 12">
            <a:extLst>
              <a:ext uri="{FF2B5EF4-FFF2-40B4-BE49-F238E27FC236}">
                <a16:creationId xmlns:a16="http://schemas.microsoft.com/office/drawing/2014/main" id="{1C7EFD32-32B2-3A84-AF7E-3451099936D3}"/>
              </a:ext>
            </a:extLst>
          </p:cNvPr>
          <p:cNvCxnSpPr>
            <a:cxnSpLocks/>
          </p:cNvCxnSpPr>
          <p:nvPr/>
        </p:nvCxnSpPr>
        <p:spPr>
          <a:xfrm flipV="1">
            <a:off x="2580568" y="3793916"/>
            <a:ext cx="0" cy="920422"/>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245061FD-085B-467A-278C-721BE38FFE8D}"/>
              </a:ext>
            </a:extLst>
          </p:cNvPr>
          <p:cNvSpPr txBox="1">
            <a:spLocks/>
          </p:cNvSpPr>
          <p:nvPr/>
        </p:nvSpPr>
        <p:spPr>
          <a:xfrm>
            <a:off x="2686974" y="3998554"/>
            <a:ext cx="1657783" cy="614194"/>
          </a:xfrm>
          <a:prstGeom prst="roundRect">
            <a:avLst>
              <a:gd name="adj" fmla="val 11491"/>
            </a:avLst>
          </a:prstGeom>
          <a:noFill/>
          <a:effectLst/>
        </p:spPr>
        <p:txBody>
          <a:bodyPr vert="horz" lIns="0" tIns="0" rIns="0" bIns="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Solution sur mesure</a:t>
            </a:r>
          </a:p>
        </p:txBody>
      </p:sp>
      <p:grpSp>
        <p:nvGrpSpPr>
          <p:cNvPr id="51" name="Group 8">
            <a:extLst>
              <a:ext uri="{FF2B5EF4-FFF2-40B4-BE49-F238E27FC236}">
                <a16:creationId xmlns:a16="http://schemas.microsoft.com/office/drawing/2014/main" id="{51C9AC82-BDE2-140C-53D5-D040840C9FE7}"/>
              </a:ext>
            </a:extLst>
          </p:cNvPr>
          <p:cNvGrpSpPr/>
          <p:nvPr/>
        </p:nvGrpSpPr>
        <p:grpSpPr>
          <a:xfrm>
            <a:off x="3793866" y="1855176"/>
            <a:ext cx="4956864" cy="2738701"/>
            <a:chOff x="4123675" y="2060237"/>
            <a:chExt cx="4630687" cy="2494301"/>
          </a:xfrm>
        </p:grpSpPr>
        <p:sp>
          <p:nvSpPr>
            <p:cNvPr id="52" name="Vrije vorm 59">
              <a:extLst>
                <a:ext uri="{FF2B5EF4-FFF2-40B4-BE49-F238E27FC236}">
                  <a16:creationId xmlns:a16="http://schemas.microsoft.com/office/drawing/2014/main" id="{CBE23B03-1823-8EC2-1405-FFD88B2A9819}"/>
                </a:ext>
              </a:extLst>
            </p:cNvPr>
            <p:cNvSpPr/>
            <p:nvPr/>
          </p:nvSpPr>
          <p:spPr>
            <a:xfrm>
              <a:off x="4752689" y="2989253"/>
              <a:ext cx="2986151" cy="1363619"/>
            </a:xfrm>
            <a:custGeom>
              <a:avLst/>
              <a:gdLst>
                <a:gd name="connsiteX0" fmla="*/ -1800 w 2986151"/>
                <a:gd name="connsiteY0" fmla="*/ 1150578 h 1363619"/>
                <a:gd name="connsiteX1" fmla="*/ 119027 w 2986151"/>
                <a:gd name="connsiteY1" fmla="*/ 1150578 h 1363619"/>
                <a:gd name="connsiteX2" fmla="*/ 119027 w 2986151"/>
                <a:gd name="connsiteY2" fmla="*/ 1363463 h 1363619"/>
                <a:gd name="connsiteX3" fmla="*/ -1800 w 2986151"/>
                <a:gd name="connsiteY3" fmla="*/ 1363463 h 1363619"/>
                <a:gd name="connsiteX4" fmla="*/ 239854 w 2986151"/>
                <a:gd name="connsiteY4" fmla="*/ 788096 h 1363619"/>
                <a:gd name="connsiteX5" fmla="*/ 360681 w 2986151"/>
                <a:gd name="connsiteY5" fmla="*/ 788096 h 1363619"/>
                <a:gd name="connsiteX6" fmla="*/ 360681 w 2986151"/>
                <a:gd name="connsiteY6" fmla="*/ 1363463 h 1363619"/>
                <a:gd name="connsiteX7" fmla="*/ 239854 w 2986151"/>
                <a:gd name="connsiteY7" fmla="*/ 1363463 h 1363619"/>
                <a:gd name="connsiteX8" fmla="*/ 475754 w 2986151"/>
                <a:gd name="connsiteY8" fmla="*/ 419862 h 1363619"/>
                <a:gd name="connsiteX9" fmla="*/ 596581 w 2986151"/>
                <a:gd name="connsiteY9" fmla="*/ 419862 h 1363619"/>
                <a:gd name="connsiteX10" fmla="*/ 596581 w 2986151"/>
                <a:gd name="connsiteY10" fmla="*/ 1363463 h 1363619"/>
                <a:gd name="connsiteX11" fmla="*/ 475754 w 2986151"/>
                <a:gd name="connsiteY11" fmla="*/ 1363463 h 1363619"/>
                <a:gd name="connsiteX12" fmla="*/ 717408 w 2986151"/>
                <a:gd name="connsiteY12" fmla="*/ 103410 h 1363619"/>
                <a:gd name="connsiteX13" fmla="*/ 838235 w 2986151"/>
                <a:gd name="connsiteY13" fmla="*/ 103410 h 1363619"/>
                <a:gd name="connsiteX14" fmla="*/ 838235 w 2986151"/>
                <a:gd name="connsiteY14" fmla="*/ 1363463 h 1363619"/>
                <a:gd name="connsiteX15" fmla="*/ 717408 w 2986151"/>
                <a:gd name="connsiteY15" fmla="*/ 1363463 h 1363619"/>
                <a:gd name="connsiteX16" fmla="*/ 953308 w 2986151"/>
                <a:gd name="connsiteY16" fmla="*/ 51627 h 1363619"/>
                <a:gd name="connsiteX17" fmla="*/ 1074135 w 2986151"/>
                <a:gd name="connsiteY17" fmla="*/ 51627 h 1363619"/>
                <a:gd name="connsiteX18" fmla="*/ 1074135 w 2986151"/>
                <a:gd name="connsiteY18" fmla="*/ 1363463 h 1363619"/>
                <a:gd name="connsiteX19" fmla="*/ 953308 w 2986151"/>
                <a:gd name="connsiteY19" fmla="*/ 1363463 h 1363619"/>
                <a:gd name="connsiteX20" fmla="*/ 1194962 w 2986151"/>
                <a:gd name="connsiteY20" fmla="*/ -156 h 1363619"/>
                <a:gd name="connsiteX21" fmla="*/ 1310035 w 2986151"/>
                <a:gd name="connsiteY21" fmla="*/ -156 h 1363619"/>
                <a:gd name="connsiteX22" fmla="*/ 1310035 w 2986151"/>
                <a:gd name="connsiteY22" fmla="*/ 1363463 h 1363619"/>
                <a:gd name="connsiteX23" fmla="*/ 1194962 w 2986151"/>
                <a:gd name="connsiteY23" fmla="*/ 1363463 h 1363619"/>
                <a:gd name="connsiteX24" fmla="*/ 1430862 w 2986151"/>
                <a:gd name="connsiteY24" fmla="*/ 368079 h 1363619"/>
                <a:gd name="connsiteX25" fmla="*/ 1551689 w 2986151"/>
                <a:gd name="connsiteY25" fmla="*/ 368079 h 1363619"/>
                <a:gd name="connsiteX26" fmla="*/ 1551689 w 2986151"/>
                <a:gd name="connsiteY26" fmla="*/ 1363463 h 1363619"/>
                <a:gd name="connsiteX27" fmla="*/ 1430862 w 2986151"/>
                <a:gd name="connsiteY27" fmla="*/ 1363463 h 1363619"/>
                <a:gd name="connsiteX28" fmla="*/ 1672516 w 2986151"/>
                <a:gd name="connsiteY28" fmla="*/ 736313 h 1363619"/>
                <a:gd name="connsiteX29" fmla="*/ 1787589 w 2986151"/>
                <a:gd name="connsiteY29" fmla="*/ 736313 h 1363619"/>
                <a:gd name="connsiteX30" fmla="*/ 1787589 w 2986151"/>
                <a:gd name="connsiteY30" fmla="*/ 1363463 h 1363619"/>
                <a:gd name="connsiteX31" fmla="*/ 1672516 w 2986151"/>
                <a:gd name="connsiteY31" fmla="*/ 1363463 h 1363619"/>
                <a:gd name="connsiteX32" fmla="*/ 1908416 w 2986151"/>
                <a:gd name="connsiteY32" fmla="*/ 788096 h 1363619"/>
                <a:gd name="connsiteX33" fmla="*/ 2029243 w 2986151"/>
                <a:gd name="connsiteY33" fmla="*/ 788096 h 1363619"/>
                <a:gd name="connsiteX34" fmla="*/ 2029243 w 2986151"/>
                <a:gd name="connsiteY34" fmla="*/ 1363463 h 1363619"/>
                <a:gd name="connsiteX35" fmla="*/ 1908416 w 2986151"/>
                <a:gd name="connsiteY35" fmla="*/ 1363463 h 1363619"/>
                <a:gd name="connsiteX36" fmla="*/ 2150070 w 2986151"/>
                <a:gd name="connsiteY36" fmla="*/ 1098795 h 1363619"/>
                <a:gd name="connsiteX37" fmla="*/ 2265143 w 2986151"/>
                <a:gd name="connsiteY37" fmla="*/ 1098795 h 1363619"/>
                <a:gd name="connsiteX38" fmla="*/ 2265143 w 2986151"/>
                <a:gd name="connsiteY38" fmla="*/ 1363463 h 1363619"/>
                <a:gd name="connsiteX39" fmla="*/ 2150070 w 2986151"/>
                <a:gd name="connsiteY39" fmla="*/ 1363463 h 1363619"/>
                <a:gd name="connsiteX40" fmla="*/ 2385970 w 2986151"/>
                <a:gd name="connsiteY40" fmla="*/ 1098795 h 1363619"/>
                <a:gd name="connsiteX41" fmla="*/ 2506797 w 2986151"/>
                <a:gd name="connsiteY41" fmla="*/ 1098795 h 1363619"/>
                <a:gd name="connsiteX42" fmla="*/ 2506797 w 2986151"/>
                <a:gd name="connsiteY42" fmla="*/ 1363463 h 1363619"/>
                <a:gd name="connsiteX43" fmla="*/ 2385970 w 2986151"/>
                <a:gd name="connsiteY43" fmla="*/ 1363463 h 1363619"/>
                <a:gd name="connsiteX44" fmla="*/ 2627624 w 2986151"/>
                <a:gd name="connsiteY44" fmla="*/ 1098795 h 1363619"/>
                <a:gd name="connsiteX45" fmla="*/ 2742697 w 2986151"/>
                <a:gd name="connsiteY45" fmla="*/ 1098795 h 1363619"/>
                <a:gd name="connsiteX46" fmla="*/ 2742697 w 2986151"/>
                <a:gd name="connsiteY46" fmla="*/ 1363463 h 1363619"/>
                <a:gd name="connsiteX47" fmla="*/ 2627624 w 2986151"/>
                <a:gd name="connsiteY47" fmla="*/ 1363463 h 1363619"/>
                <a:gd name="connsiteX48" fmla="*/ 2863524 w 2986151"/>
                <a:gd name="connsiteY48" fmla="*/ 1259897 h 1363619"/>
                <a:gd name="connsiteX49" fmla="*/ 2984351 w 2986151"/>
                <a:gd name="connsiteY49" fmla="*/ 1259897 h 1363619"/>
                <a:gd name="connsiteX50" fmla="*/ 2984351 w 2986151"/>
                <a:gd name="connsiteY50" fmla="*/ 1363463 h 1363619"/>
                <a:gd name="connsiteX51" fmla="*/ 2863524 w 2986151"/>
                <a:gd name="connsiteY51" fmla="*/ 1363463 h 136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86151" h="1363619">
                  <a:moveTo>
                    <a:pt x="-1800" y="1150578"/>
                  </a:moveTo>
                  <a:lnTo>
                    <a:pt x="119027" y="1150578"/>
                  </a:lnTo>
                  <a:lnTo>
                    <a:pt x="119027" y="1363463"/>
                  </a:lnTo>
                  <a:lnTo>
                    <a:pt x="-1800" y="1363463"/>
                  </a:lnTo>
                  <a:close/>
                  <a:moveTo>
                    <a:pt x="239854" y="788096"/>
                  </a:moveTo>
                  <a:lnTo>
                    <a:pt x="360681" y="788096"/>
                  </a:lnTo>
                  <a:lnTo>
                    <a:pt x="360681" y="1363463"/>
                  </a:lnTo>
                  <a:lnTo>
                    <a:pt x="239854" y="1363463"/>
                  </a:lnTo>
                  <a:close/>
                  <a:moveTo>
                    <a:pt x="475754" y="419862"/>
                  </a:moveTo>
                  <a:lnTo>
                    <a:pt x="596581" y="419862"/>
                  </a:lnTo>
                  <a:lnTo>
                    <a:pt x="596581" y="1363463"/>
                  </a:lnTo>
                  <a:lnTo>
                    <a:pt x="475754" y="1363463"/>
                  </a:lnTo>
                  <a:close/>
                  <a:moveTo>
                    <a:pt x="717408" y="103410"/>
                  </a:moveTo>
                  <a:lnTo>
                    <a:pt x="838235" y="103410"/>
                  </a:lnTo>
                  <a:lnTo>
                    <a:pt x="838235" y="1363463"/>
                  </a:lnTo>
                  <a:lnTo>
                    <a:pt x="717408" y="1363463"/>
                  </a:lnTo>
                  <a:close/>
                  <a:moveTo>
                    <a:pt x="953308" y="51627"/>
                  </a:moveTo>
                  <a:lnTo>
                    <a:pt x="1074135" y="51627"/>
                  </a:lnTo>
                  <a:lnTo>
                    <a:pt x="1074135" y="1363463"/>
                  </a:lnTo>
                  <a:lnTo>
                    <a:pt x="953308" y="1363463"/>
                  </a:lnTo>
                  <a:close/>
                  <a:moveTo>
                    <a:pt x="1194962" y="-156"/>
                  </a:moveTo>
                  <a:lnTo>
                    <a:pt x="1310035" y="-156"/>
                  </a:lnTo>
                  <a:lnTo>
                    <a:pt x="1310035" y="1363463"/>
                  </a:lnTo>
                  <a:lnTo>
                    <a:pt x="1194962" y="1363463"/>
                  </a:lnTo>
                  <a:close/>
                  <a:moveTo>
                    <a:pt x="1430862" y="368079"/>
                  </a:moveTo>
                  <a:lnTo>
                    <a:pt x="1551689" y="368079"/>
                  </a:lnTo>
                  <a:lnTo>
                    <a:pt x="1551689" y="1363463"/>
                  </a:lnTo>
                  <a:lnTo>
                    <a:pt x="1430862" y="1363463"/>
                  </a:lnTo>
                  <a:close/>
                  <a:moveTo>
                    <a:pt x="1672516" y="736313"/>
                  </a:moveTo>
                  <a:lnTo>
                    <a:pt x="1787589" y="736313"/>
                  </a:lnTo>
                  <a:lnTo>
                    <a:pt x="1787589" y="1363463"/>
                  </a:lnTo>
                  <a:lnTo>
                    <a:pt x="1672516" y="1363463"/>
                  </a:lnTo>
                  <a:close/>
                  <a:moveTo>
                    <a:pt x="1908416" y="788096"/>
                  </a:moveTo>
                  <a:lnTo>
                    <a:pt x="2029243" y="788096"/>
                  </a:lnTo>
                  <a:lnTo>
                    <a:pt x="2029243" y="1363463"/>
                  </a:lnTo>
                  <a:lnTo>
                    <a:pt x="1908416" y="1363463"/>
                  </a:lnTo>
                  <a:close/>
                  <a:moveTo>
                    <a:pt x="2150070" y="1098795"/>
                  </a:moveTo>
                  <a:lnTo>
                    <a:pt x="2265143" y="1098795"/>
                  </a:lnTo>
                  <a:lnTo>
                    <a:pt x="2265143" y="1363463"/>
                  </a:lnTo>
                  <a:lnTo>
                    <a:pt x="2150070" y="1363463"/>
                  </a:lnTo>
                  <a:close/>
                  <a:moveTo>
                    <a:pt x="2385970" y="1098795"/>
                  </a:moveTo>
                  <a:lnTo>
                    <a:pt x="2506797" y="1098795"/>
                  </a:lnTo>
                  <a:lnTo>
                    <a:pt x="2506797" y="1363463"/>
                  </a:lnTo>
                  <a:lnTo>
                    <a:pt x="2385970" y="1363463"/>
                  </a:lnTo>
                  <a:close/>
                  <a:moveTo>
                    <a:pt x="2627624" y="1098795"/>
                  </a:moveTo>
                  <a:lnTo>
                    <a:pt x="2742697" y="1098795"/>
                  </a:lnTo>
                  <a:lnTo>
                    <a:pt x="2742697" y="1363463"/>
                  </a:lnTo>
                  <a:lnTo>
                    <a:pt x="2627624" y="1363463"/>
                  </a:lnTo>
                  <a:close/>
                  <a:moveTo>
                    <a:pt x="2863524" y="1259897"/>
                  </a:moveTo>
                  <a:lnTo>
                    <a:pt x="2984351" y="1259897"/>
                  </a:lnTo>
                  <a:lnTo>
                    <a:pt x="2984351" y="1363463"/>
                  </a:lnTo>
                  <a:lnTo>
                    <a:pt x="2863524" y="1363463"/>
                  </a:lnTo>
                  <a:close/>
                </a:path>
              </a:pathLst>
            </a:custGeom>
            <a:solidFill>
              <a:schemeClr val="accent2"/>
            </a:solidFill>
            <a:ln w="5744" cap="flat">
              <a:noFill/>
              <a:prstDash val="solid"/>
              <a:miter/>
            </a:ln>
          </p:spPr>
          <p:txBody>
            <a:bodyPr rtlCol="0" anchor="ctr"/>
            <a:lstStyle/>
            <a:p>
              <a:endParaRPr lang="nl-BE"/>
            </a:p>
          </p:txBody>
        </p:sp>
        <p:sp>
          <p:nvSpPr>
            <p:cNvPr id="53" name="Vrije vorm 60">
              <a:extLst>
                <a:ext uri="{FF2B5EF4-FFF2-40B4-BE49-F238E27FC236}">
                  <a16:creationId xmlns:a16="http://schemas.microsoft.com/office/drawing/2014/main" id="{4B5B12CE-9191-DC8D-E7E9-33EE09181D52}"/>
                </a:ext>
              </a:extLst>
            </p:cNvPr>
            <p:cNvSpPr/>
            <p:nvPr/>
          </p:nvSpPr>
          <p:spPr>
            <a:xfrm>
              <a:off x="4752689" y="2822397"/>
              <a:ext cx="3699605" cy="1530475"/>
            </a:xfrm>
            <a:custGeom>
              <a:avLst/>
              <a:gdLst>
                <a:gd name="connsiteX0" fmla="*/ -1800 w 3699605"/>
                <a:gd name="connsiteY0" fmla="*/ 1162085 h 1530475"/>
                <a:gd name="connsiteX1" fmla="*/ 119027 w 3699605"/>
                <a:gd name="connsiteY1" fmla="*/ 1162085 h 1530475"/>
                <a:gd name="connsiteX2" fmla="*/ 119027 w 3699605"/>
                <a:gd name="connsiteY2" fmla="*/ 1317434 h 1530475"/>
                <a:gd name="connsiteX3" fmla="*/ -1800 w 3699605"/>
                <a:gd name="connsiteY3" fmla="*/ 1317434 h 1530475"/>
                <a:gd name="connsiteX4" fmla="*/ 239854 w 3699605"/>
                <a:gd name="connsiteY4" fmla="*/ 684530 h 1530475"/>
                <a:gd name="connsiteX5" fmla="*/ 360681 w 3699605"/>
                <a:gd name="connsiteY5" fmla="*/ 684530 h 1530475"/>
                <a:gd name="connsiteX6" fmla="*/ 360681 w 3699605"/>
                <a:gd name="connsiteY6" fmla="*/ 954953 h 1530475"/>
                <a:gd name="connsiteX7" fmla="*/ 239854 w 3699605"/>
                <a:gd name="connsiteY7" fmla="*/ 954953 h 1530475"/>
                <a:gd name="connsiteX8" fmla="*/ 475754 w 3699605"/>
                <a:gd name="connsiteY8" fmla="*/ 293281 h 1530475"/>
                <a:gd name="connsiteX9" fmla="*/ 596581 w 3699605"/>
                <a:gd name="connsiteY9" fmla="*/ 293281 h 1530475"/>
                <a:gd name="connsiteX10" fmla="*/ 596581 w 3699605"/>
                <a:gd name="connsiteY10" fmla="*/ 586718 h 1530475"/>
                <a:gd name="connsiteX11" fmla="*/ 475754 w 3699605"/>
                <a:gd name="connsiteY11" fmla="*/ 586718 h 1530475"/>
                <a:gd name="connsiteX12" fmla="*/ 717408 w 3699605"/>
                <a:gd name="connsiteY12" fmla="*/ -156 h 1530475"/>
                <a:gd name="connsiteX13" fmla="*/ 838235 w 3699605"/>
                <a:gd name="connsiteY13" fmla="*/ -156 h 1530475"/>
                <a:gd name="connsiteX14" fmla="*/ 838235 w 3699605"/>
                <a:gd name="connsiteY14" fmla="*/ 270266 h 1530475"/>
                <a:gd name="connsiteX15" fmla="*/ 717408 w 3699605"/>
                <a:gd name="connsiteY15" fmla="*/ 270266 h 1530475"/>
                <a:gd name="connsiteX16" fmla="*/ 953308 w 3699605"/>
                <a:gd name="connsiteY16" fmla="*/ 126425 h 1530475"/>
                <a:gd name="connsiteX17" fmla="*/ 1074135 w 3699605"/>
                <a:gd name="connsiteY17" fmla="*/ 126425 h 1530475"/>
                <a:gd name="connsiteX18" fmla="*/ 1074135 w 3699605"/>
                <a:gd name="connsiteY18" fmla="*/ 218483 h 1530475"/>
                <a:gd name="connsiteX19" fmla="*/ 953308 w 3699605"/>
                <a:gd name="connsiteY19" fmla="*/ 218483 h 1530475"/>
                <a:gd name="connsiteX20" fmla="*/ 1194962 w 3699605"/>
                <a:gd name="connsiteY20" fmla="*/ 74642 h 1530475"/>
                <a:gd name="connsiteX21" fmla="*/ 1310035 w 3699605"/>
                <a:gd name="connsiteY21" fmla="*/ 74642 h 1530475"/>
                <a:gd name="connsiteX22" fmla="*/ 1310035 w 3699605"/>
                <a:gd name="connsiteY22" fmla="*/ 166700 h 1530475"/>
                <a:gd name="connsiteX23" fmla="*/ 1194962 w 3699605"/>
                <a:gd name="connsiteY23" fmla="*/ 166700 h 1530475"/>
                <a:gd name="connsiteX24" fmla="*/ 1430862 w 3699605"/>
                <a:gd name="connsiteY24" fmla="*/ 264513 h 1530475"/>
                <a:gd name="connsiteX25" fmla="*/ 1551689 w 3699605"/>
                <a:gd name="connsiteY25" fmla="*/ 264513 h 1530475"/>
                <a:gd name="connsiteX26" fmla="*/ 1551689 w 3699605"/>
                <a:gd name="connsiteY26" fmla="*/ 534935 h 1530475"/>
                <a:gd name="connsiteX27" fmla="*/ 1430862 w 3699605"/>
                <a:gd name="connsiteY27" fmla="*/ 534935 h 1530475"/>
                <a:gd name="connsiteX28" fmla="*/ 1672516 w 3699605"/>
                <a:gd name="connsiteY28" fmla="*/ 494659 h 1530475"/>
                <a:gd name="connsiteX29" fmla="*/ 1787589 w 3699605"/>
                <a:gd name="connsiteY29" fmla="*/ 494659 h 1530475"/>
                <a:gd name="connsiteX30" fmla="*/ 1787589 w 3699605"/>
                <a:gd name="connsiteY30" fmla="*/ 903170 h 1530475"/>
                <a:gd name="connsiteX31" fmla="*/ 1672516 w 3699605"/>
                <a:gd name="connsiteY31" fmla="*/ 903170 h 1530475"/>
                <a:gd name="connsiteX32" fmla="*/ 1908416 w 3699605"/>
                <a:gd name="connsiteY32" fmla="*/ 437123 h 1530475"/>
                <a:gd name="connsiteX33" fmla="*/ 2029243 w 3699605"/>
                <a:gd name="connsiteY33" fmla="*/ 437123 h 1530475"/>
                <a:gd name="connsiteX34" fmla="*/ 2029243 w 3699605"/>
                <a:gd name="connsiteY34" fmla="*/ 954953 h 1530475"/>
                <a:gd name="connsiteX35" fmla="*/ 1908416 w 3699605"/>
                <a:gd name="connsiteY35" fmla="*/ 954953 h 1530475"/>
                <a:gd name="connsiteX36" fmla="*/ 2150070 w 3699605"/>
                <a:gd name="connsiteY36" fmla="*/ 931938 h 1530475"/>
                <a:gd name="connsiteX37" fmla="*/ 2265143 w 3699605"/>
                <a:gd name="connsiteY37" fmla="*/ 931938 h 1530475"/>
                <a:gd name="connsiteX38" fmla="*/ 2265143 w 3699605"/>
                <a:gd name="connsiteY38" fmla="*/ 1265651 h 1530475"/>
                <a:gd name="connsiteX39" fmla="*/ 2150070 w 3699605"/>
                <a:gd name="connsiteY39" fmla="*/ 1265651 h 1530475"/>
                <a:gd name="connsiteX40" fmla="*/ 2385970 w 3699605"/>
                <a:gd name="connsiteY40" fmla="*/ 1110302 h 1530475"/>
                <a:gd name="connsiteX41" fmla="*/ 2506797 w 3699605"/>
                <a:gd name="connsiteY41" fmla="*/ 1110302 h 1530475"/>
                <a:gd name="connsiteX42" fmla="*/ 2506797 w 3699605"/>
                <a:gd name="connsiteY42" fmla="*/ 1265651 h 1530475"/>
                <a:gd name="connsiteX43" fmla="*/ 2385970 w 3699605"/>
                <a:gd name="connsiteY43" fmla="*/ 1265651 h 1530475"/>
                <a:gd name="connsiteX44" fmla="*/ 3105178 w 3699605"/>
                <a:gd name="connsiteY44" fmla="*/ 1484290 h 1530475"/>
                <a:gd name="connsiteX45" fmla="*/ 3220252 w 3699605"/>
                <a:gd name="connsiteY45" fmla="*/ 1484290 h 1530475"/>
                <a:gd name="connsiteX46" fmla="*/ 3220252 w 3699605"/>
                <a:gd name="connsiteY46" fmla="*/ 1530320 h 1530475"/>
                <a:gd name="connsiteX47" fmla="*/ 3105178 w 3699605"/>
                <a:gd name="connsiteY47" fmla="*/ 1530320 h 1530475"/>
                <a:gd name="connsiteX48" fmla="*/ 3341078 w 3699605"/>
                <a:gd name="connsiteY48" fmla="*/ 1415246 h 1530475"/>
                <a:gd name="connsiteX49" fmla="*/ 3461905 w 3699605"/>
                <a:gd name="connsiteY49" fmla="*/ 1415246 h 1530475"/>
                <a:gd name="connsiteX50" fmla="*/ 3461905 w 3699605"/>
                <a:gd name="connsiteY50" fmla="*/ 1530320 h 1530475"/>
                <a:gd name="connsiteX51" fmla="*/ 3341078 w 3699605"/>
                <a:gd name="connsiteY51" fmla="*/ 1530320 h 1530475"/>
                <a:gd name="connsiteX52" fmla="*/ 3582732 w 3699605"/>
                <a:gd name="connsiteY52" fmla="*/ 1415246 h 1530475"/>
                <a:gd name="connsiteX53" fmla="*/ 3697806 w 3699605"/>
                <a:gd name="connsiteY53" fmla="*/ 1415246 h 1530475"/>
                <a:gd name="connsiteX54" fmla="*/ 3697806 w 3699605"/>
                <a:gd name="connsiteY54" fmla="*/ 1530320 h 1530475"/>
                <a:gd name="connsiteX55" fmla="*/ 3582732 w 3699605"/>
                <a:gd name="connsiteY55" fmla="*/ 1530320 h 153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99605" h="1530475">
                  <a:moveTo>
                    <a:pt x="-1800" y="1162085"/>
                  </a:moveTo>
                  <a:lnTo>
                    <a:pt x="119027" y="1162085"/>
                  </a:lnTo>
                  <a:lnTo>
                    <a:pt x="119027" y="1317434"/>
                  </a:lnTo>
                  <a:lnTo>
                    <a:pt x="-1800" y="1317434"/>
                  </a:lnTo>
                  <a:close/>
                  <a:moveTo>
                    <a:pt x="239854" y="684530"/>
                  </a:moveTo>
                  <a:lnTo>
                    <a:pt x="360681" y="684530"/>
                  </a:lnTo>
                  <a:lnTo>
                    <a:pt x="360681" y="954953"/>
                  </a:lnTo>
                  <a:lnTo>
                    <a:pt x="239854" y="954953"/>
                  </a:lnTo>
                  <a:close/>
                  <a:moveTo>
                    <a:pt x="475754" y="293281"/>
                  </a:moveTo>
                  <a:lnTo>
                    <a:pt x="596581" y="293281"/>
                  </a:lnTo>
                  <a:lnTo>
                    <a:pt x="596581" y="586718"/>
                  </a:lnTo>
                  <a:lnTo>
                    <a:pt x="475754" y="586718"/>
                  </a:lnTo>
                  <a:close/>
                  <a:moveTo>
                    <a:pt x="717408" y="-156"/>
                  </a:moveTo>
                  <a:lnTo>
                    <a:pt x="838235" y="-156"/>
                  </a:lnTo>
                  <a:lnTo>
                    <a:pt x="838235" y="270266"/>
                  </a:lnTo>
                  <a:lnTo>
                    <a:pt x="717408" y="270266"/>
                  </a:lnTo>
                  <a:close/>
                  <a:moveTo>
                    <a:pt x="953308" y="126425"/>
                  </a:moveTo>
                  <a:lnTo>
                    <a:pt x="1074135" y="126425"/>
                  </a:lnTo>
                  <a:lnTo>
                    <a:pt x="1074135" y="218483"/>
                  </a:lnTo>
                  <a:lnTo>
                    <a:pt x="953308" y="218483"/>
                  </a:lnTo>
                  <a:close/>
                  <a:moveTo>
                    <a:pt x="1194962" y="74642"/>
                  </a:moveTo>
                  <a:lnTo>
                    <a:pt x="1310035" y="74642"/>
                  </a:lnTo>
                  <a:lnTo>
                    <a:pt x="1310035" y="166700"/>
                  </a:lnTo>
                  <a:lnTo>
                    <a:pt x="1194962" y="166700"/>
                  </a:lnTo>
                  <a:close/>
                  <a:moveTo>
                    <a:pt x="1430862" y="264513"/>
                  </a:moveTo>
                  <a:lnTo>
                    <a:pt x="1551689" y="264513"/>
                  </a:lnTo>
                  <a:lnTo>
                    <a:pt x="1551689" y="534935"/>
                  </a:lnTo>
                  <a:lnTo>
                    <a:pt x="1430862" y="534935"/>
                  </a:lnTo>
                  <a:close/>
                  <a:moveTo>
                    <a:pt x="1672516" y="494659"/>
                  </a:moveTo>
                  <a:lnTo>
                    <a:pt x="1787589" y="494659"/>
                  </a:lnTo>
                  <a:lnTo>
                    <a:pt x="1787589" y="903170"/>
                  </a:lnTo>
                  <a:lnTo>
                    <a:pt x="1672516" y="903170"/>
                  </a:lnTo>
                  <a:close/>
                  <a:moveTo>
                    <a:pt x="1908416" y="437123"/>
                  </a:moveTo>
                  <a:lnTo>
                    <a:pt x="2029243" y="437123"/>
                  </a:lnTo>
                  <a:lnTo>
                    <a:pt x="2029243" y="954953"/>
                  </a:lnTo>
                  <a:lnTo>
                    <a:pt x="1908416" y="954953"/>
                  </a:lnTo>
                  <a:close/>
                  <a:moveTo>
                    <a:pt x="2150070" y="931938"/>
                  </a:moveTo>
                  <a:lnTo>
                    <a:pt x="2265143" y="931938"/>
                  </a:lnTo>
                  <a:lnTo>
                    <a:pt x="2265143" y="1265651"/>
                  </a:lnTo>
                  <a:lnTo>
                    <a:pt x="2150070" y="1265651"/>
                  </a:lnTo>
                  <a:close/>
                  <a:moveTo>
                    <a:pt x="2385970" y="1110302"/>
                  </a:moveTo>
                  <a:lnTo>
                    <a:pt x="2506797" y="1110302"/>
                  </a:lnTo>
                  <a:lnTo>
                    <a:pt x="2506797" y="1265651"/>
                  </a:lnTo>
                  <a:lnTo>
                    <a:pt x="2385970" y="1265651"/>
                  </a:lnTo>
                  <a:close/>
                  <a:moveTo>
                    <a:pt x="3105178" y="1484290"/>
                  </a:moveTo>
                  <a:lnTo>
                    <a:pt x="3220252" y="1484290"/>
                  </a:lnTo>
                  <a:lnTo>
                    <a:pt x="3220252" y="1530320"/>
                  </a:lnTo>
                  <a:lnTo>
                    <a:pt x="3105178" y="1530320"/>
                  </a:lnTo>
                  <a:close/>
                  <a:moveTo>
                    <a:pt x="3341078" y="1415246"/>
                  </a:moveTo>
                  <a:lnTo>
                    <a:pt x="3461905" y="1415246"/>
                  </a:lnTo>
                  <a:lnTo>
                    <a:pt x="3461905" y="1530320"/>
                  </a:lnTo>
                  <a:lnTo>
                    <a:pt x="3341078" y="1530320"/>
                  </a:lnTo>
                  <a:close/>
                  <a:moveTo>
                    <a:pt x="3582732" y="1415246"/>
                  </a:moveTo>
                  <a:lnTo>
                    <a:pt x="3697806" y="1415246"/>
                  </a:lnTo>
                  <a:lnTo>
                    <a:pt x="3697806" y="1530320"/>
                  </a:lnTo>
                  <a:lnTo>
                    <a:pt x="3582732" y="1530320"/>
                  </a:lnTo>
                  <a:close/>
                </a:path>
              </a:pathLst>
            </a:custGeom>
            <a:solidFill>
              <a:schemeClr val="bg1"/>
            </a:solidFill>
            <a:ln w="5744" cap="flat">
              <a:noFill/>
              <a:prstDash val="solid"/>
              <a:miter/>
            </a:ln>
          </p:spPr>
          <p:txBody>
            <a:bodyPr rtlCol="0" anchor="ctr"/>
            <a:lstStyle/>
            <a:p>
              <a:endParaRPr lang="nl-BE"/>
            </a:p>
          </p:txBody>
        </p:sp>
        <p:sp>
          <p:nvSpPr>
            <p:cNvPr id="54" name="Vrije vorm 61">
              <a:extLst>
                <a:ext uri="{FF2B5EF4-FFF2-40B4-BE49-F238E27FC236}">
                  <a16:creationId xmlns:a16="http://schemas.microsoft.com/office/drawing/2014/main" id="{9D929C9D-4A9E-FF9E-BCF5-EDFA48284ED4}"/>
                </a:ext>
              </a:extLst>
            </p:cNvPr>
            <p:cNvSpPr/>
            <p:nvPr/>
          </p:nvSpPr>
          <p:spPr>
            <a:xfrm>
              <a:off x="4752689" y="2718831"/>
              <a:ext cx="3941259" cy="1634041"/>
            </a:xfrm>
            <a:custGeom>
              <a:avLst/>
              <a:gdLst>
                <a:gd name="connsiteX0" fmla="*/ -1800 w 3941259"/>
                <a:gd name="connsiteY0" fmla="*/ 1093041 h 1634041"/>
                <a:gd name="connsiteX1" fmla="*/ 119027 w 3941259"/>
                <a:gd name="connsiteY1" fmla="*/ 1093041 h 1634041"/>
                <a:gd name="connsiteX2" fmla="*/ 119027 w 3941259"/>
                <a:gd name="connsiteY2" fmla="*/ 1265651 h 1634041"/>
                <a:gd name="connsiteX3" fmla="*/ -1800 w 3941259"/>
                <a:gd name="connsiteY3" fmla="*/ 1265651 h 1634041"/>
                <a:gd name="connsiteX4" fmla="*/ 239854 w 3941259"/>
                <a:gd name="connsiteY4" fmla="*/ 586718 h 1634041"/>
                <a:gd name="connsiteX5" fmla="*/ 360681 w 3941259"/>
                <a:gd name="connsiteY5" fmla="*/ 586718 h 1634041"/>
                <a:gd name="connsiteX6" fmla="*/ 360681 w 3941259"/>
                <a:gd name="connsiteY6" fmla="*/ 788096 h 1634041"/>
                <a:gd name="connsiteX7" fmla="*/ 239854 w 3941259"/>
                <a:gd name="connsiteY7" fmla="*/ 788096 h 1634041"/>
                <a:gd name="connsiteX8" fmla="*/ 475754 w 3941259"/>
                <a:gd name="connsiteY8" fmla="*/ 241498 h 1634041"/>
                <a:gd name="connsiteX9" fmla="*/ 596581 w 3941259"/>
                <a:gd name="connsiteY9" fmla="*/ 241498 h 1634041"/>
                <a:gd name="connsiteX10" fmla="*/ 596581 w 3941259"/>
                <a:gd name="connsiteY10" fmla="*/ 396847 h 1634041"/>
                <a:gd name="connsiteX11" fmla="*/ 475754 w 3941259"/>
                <a:gd name="connsiteY11" fmla="*/ 396847 h 1634041"/>
                <a:gd name="connsiteX12" fmla="*/ 717408 w 3941259"/>
                <a:gd name="connsiteY12" fmla="*/ -156 h 1634041"/>
                <a:gd name="connsiteX13" fmla="*/ 838235 w 3941259"/>
                <a:gd name="connsiteY13" fmla="*/ -156 h 1634041"/>
                <a:gd name="connsiteX14" fmla="*/ 838235 w 3941259"/>
                <a:gd name="connsiteY14" fmla="*/ 103410 h 1634041"/>
                <a:gd name="connsiteX15" fmla="*/ 717408 w 3941259"/>
                <a:gd name="connsiteY15" fmla="*/ 103410 h 1634041"/>
                <a:gd name="connsiteX16" fmla="*/ 953308 w 3941259"/>
                <a:gd name="connsiteY16" fmla="*/ 195469 h 1634041"/>
                <a:gd name="connsiteX17" fmla="*/ 1074135 w 3941259"/>
                <a:gd name="connsiteY17" fmla="*/ 195469 h 1634041"/>
                <a:gd name="connsiteX18" fmla="*/ 1074135 w 3941259"/>
                <a:gd name="connsiteY18" fmla="*/ 229991 h 1634041"/>
                <a:gd name="connsiteX19" fmla="*/ 953308 w 3941259"/>
                <a:gd name="connsiteY19" fmla="*/ 229991 h 1634041"/>
                <a:gd name="connsiteX20" fmla="*/ 1194962 w 3941259"/>
                <a:gd name="connsiteY20" fmla="*/ 97656 h 1634041"/>
                <a:gd name="connsiteX21" fmla="*/ 1310035 w 3941259"/>
                <a:gd name="connsiteY21" fmla="*/ 97656 h 1634041"/>
                <a:gd name="connsiteX22" fmla="*/ 1310035 w 3941259"/>
                <a:gd name="connsiteY22" fmla="*/ 178208 h 1634041"/>
                <a:gd name="connsiteX23" fmla="*/ 1194962 w 3941259"/>
                <a:gd name="connsiteY23" fmla="*/ 178208 h 1634041"/>
                <a:gd name="connsiteX24" fmla="*/ 1430862 w 3941259"/>
                <a:gd name="connsiteY24" fmla="*/ 241498 h 1634041"/>
                <a:gd name="connsiteX25" fmla="*/ 1551689 w 3941259"/>
                <a:gd name="connsiteY25" fmla="*/ 241498 h 1634041"/>
                <a:gd name="connsiteX26" fmla="*/ 1551689 w 3941259"/>
                <a:gd name="connsiteY26" fmla="*/ 368079 h 1634041"/>
                <a:gd name="connsiteX27" fmla="*/ 1430862 w 3941259"/>
                <a:gd name="connsiteY27" fmla="*/ 368079 h 1634041"/>
                <a:gd name="connsiteX28" fmla="*/ 1672516 w 3941259"/>
                <a:gd name="connsiteY28" fmla="*/ 362325 h 1634041"/>
                <a:gd name="connsiteX29" fmla="*/ 1787589 w 3941259"/>
                <a:gd name="connsiteY29" fmla="*/ 362325 h 1634041"/>
                <a:gd name="connsiteX30" fmla="*/ 1787589 w 3941259"/>
                <a:gd name="connsiteY30" fmla="*/ 598225 h 1634041"/>
                <a:gd name="connsiteX31" fmla="*/ 1672516 w 3941259"/>
                <a:gd name="connsiteY31" fmla="*/ 598225 h 1634041"/>
                <a:gd name="connsiteX32" fmla="*/ 1908416 w 3941259"/>
                <a:gd name="connsiteY32" fmla="*/ 178208 h 1634041"/>
                <a:gd name="connsiteX33" fmla="*/ 2029243 w 3941259"/>
                <a:gd name="connsiteY33" fmla="*/ 178208 h 1634041"/>
                <a:gd name="connsiteX34" fmla="*/ 2029243 w 3941259"/>
                <a:gd name="connsiteY34" fmla="*/ 540689 h 1634041"/>
                <a:gd name="connsiteX35" fmla="*/ 1908416 w 3941259"/>
                <a:gd name="connsiteY35" fmla="*/ 540689 h 1634041"/>
                <a:gd name="connsiteX36" fmla="*/ 2150070 w 3941259"/>
                <a:gd name="connsiteY36" fmla="*/ 684530 h 1634041"/>
                <a:gd name="connsiteX37" fmla="*/ 2265143 w 3941259"/>
                <a:gd name="connsiteY37" fmla="*/ 684530 h 1634041"/>
                <a:gd name="connsiteX38" fmla="*/ 2265143 w 3941259"/>
                <a:gd name="connsiteY38" fmla="*/ 1035504 h 1634041"/>
                <a:gd name="connsiteX39" fmla="*/ 2150070 w 3941259"/>
                <a:gd name="connsiteY39" fmla="*/ 1035504 h 1634041"/>
                <a:gd name="connsiteX40" fmla="*/ 2385970 w 3941259"/>
                <a:gd name="connsiteY40" fmla="*/ 885909 h 1634041"/>
                <a:gd name="connsiteX41" fmla="*/ 2506797 w 3941259"/>
                <a:gd name="connsiteY41" fmla="*/ 885909 h 1634041"/>
                <a:gd name="connsiteX42" fmla="*/ 2506797 w 3941259"/>
                <a:gd name="connsiteY42" fmla="*/ 1213868 h 1634041"/>
                <a:gd name="connsiteX43" fmla="*/ 2385970 w 3941259"/>
                <a:gd name="connsiteY43" fmla="*/ 1213868 h 1634041"/>
                <a:gd name="connsiteX44" fmla="*/ 2627624 w 3941259"/>
                <a:gd name="connsiteY44" fmla="*/ 1058519 h 1634041"/>
                <a:gd name="connsiteX45" fmla="*/ 2742697 w 3941259"/>
                <a:gd name="connsiteY45" fmla="*/ 1058519 h 1634041"/>
                <a:gd name="connsiteX46" fmla="*/ 2742697 w 3941259"/>
                <a:gd name="connsiteY46" fmla="*/ 1369217 h 1634041"/>
                <a:gd name="connsiteX47" fmla="*/ 2627624 w 3941259"/>
                <a:gd name="connsiteY47" fmla="*/ 1369217 h 1634041"/>
                <a:gd name="connsiteX48" fmla="*/ 2863524 w 3941259"/>
                <a:gd name="connsiteY48" fmla="*/ 1231129 h 1634041"/>
                <a:gd name="connsiteX49" fmla="*/ 2984351 w 3941259"/>
                <a:gd name="connsiteY49" fmla="*/ 1231129 h 1634041"/>
                <a:gd name="connsiteX50" fmla="*/ 2984351 w 3941259"/>
                <a:gd name="connsiteY50" fmla="*/ 1530320 h 1634041"/>
                <a:gd name="connsiteX51" fmla="*/ 2863524 w 3941259"/>
                <a:gd name="connsiteY51" fmla="*/ 1530320 h 1634041"/>
                <a:gd name="connsiteX52" fmla="*/ 3105178 w 3941259"/>
                <a:gd name="connsiteY52" fmla="*/ 1369217 h 1634041"/>
                <a:gd name="connsiteX53" fmla="*/ 3220252 w 3941259"/>
                <a:gd name="connsiteY53" fmla="*/ 1369217 h 1634041"/>
                <a:gd name="connsiteX54" fmla="*/ 3220252 w 3941259"/>
                <a:gd name="connsiteY54" fmla="*/ 1587856 h 1634041"/>
                <a:gd name="connsiteX55" fmla="*/ 3105178 w 3941259"/>
                <a:gd name="connsiteY55" fmla="*/ 1587856 h 1634041"/>
                <a:gd name="connsiteX56" fmla="*/ 3341078 w 3941259"/>
                <a:gd name="connsiteY56" fmla="*/ 1438261 h 1634041"/>
                <a:gd name="connsiteX57" fmla="*/ 3461905 w 3941259"/>
                <a:gd name="connsiteY57" fmla="*/ 1438261 h 1634041"/>
                <a:gd name="connsiteX58" fmla="*/ 3461905 w 3941259"/>
                <a:gd name="connsiteY58" fmla="*/ 1518812 h 1634041"/>
                <a:gd name="connsiteX59" fmla="*/ 3341078 w 3941259"/>
                <a:gd name="connsiteY59" fmla="*/ 1518812 h 1634041"/>
                <a:gd name="connsiteX60" fmla="*/ 3582732 w 3941259"/>
                <a:gd name="connsiteY60" fmla="*/ 1328941 h 1634041"/>
                <a:gd name="connsiteX61" fmla="*/ 3697806 w 3941259"/>
                <a:gd name="connsiteY61" fmla="*/ 1328941 h 1634041"/>
                <a:gd name="connsiteX62" fmla="*/ 3697806 w 3941259"/>
                <a:gd name="connsiteY62" fmla="*/ 1518812 h 1634041"/>
                <a:gd name="connsiteX63" fmla="*/ 3582732 w 3941259"/>
                <a:gd name="connsiteY63" fmla="*/ 1518812 h 1634041"/>
                <a:gd name="connsiteX64" fmla="*/ 3818633 w 3941259"/>
                <a:gd name="connsiteY64" fmla="*/ 1455522 h 1634041"/>
                <a:gd name="connsiteX65" fmla="*/ 3939459 w 3941259"/>
                <a:gd name="connsiteY65" fmla="*/ 1455522 h 1634041"/>
                <a:gd name="connsiteX66" fmla="*/ 3939459 w 3941259"/>
                <a:gd name="connsiteY66" fmla="*/ 1633886 h 1634041"/>
                <a:gd name="connsiteX67" fmla="*/ 3818633 w 3941259"/>
                <a:gd name="connsiteY67" fmla="*/ 1633886 h 16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41259" h="1634041">
                  <a:moveTo>
                    <a:pt x="-1800" y="1093041"/>
                  </a:moveTo>
                  <a:lnTo>
                    <a:pt x="119027" y="1093041"/>
                  </a:lnTo>
                  <a:lnTo>
                    <a:pt x="119027" y="1265651"/>
                  </a:lnTo>
                  <a:lnTo>
                    <a:pt x="-1800" y="1265651"/>
                  </a:lnTo>
                  <a:close/>
                  <a:moveTo>
                    <a:pt x="239854" y="586718"/>
                  </a:moveTo>
                  <a:lnTo>
                    <a:pt x="360681" y="586718"/>
                  </a:lnTo>
                  <a:lnTo>
                    <a:pt x="360681" y="788096"/>
                  </a:lnTo>
                  <a:lnTo>
                    <a:pt x="239854" y="788096"/>
                  </a:lnTo>
                  <a:close/>
                  <a:moveTo>
                    <a:pt x="475754" y="241498"/>
                  </a:moveTo>
                  <a:lnTo>
                    <a:pt x="596581" y="241498"/>
                  </a:lnTo>
                  <a:lnTo>
                    <a:pt x="596581" y="396847"/>
                  </a:lnTo>
                  <a:lnTo>
                    <a:pt x="475754" y="396847"/>
                  </a:lnTo>
                  <a:close/>
                  <a:moveTo>
                    <a:pt x="717408" y="-156"/>
                  </a:moveTo>
                  <a:lnTo>
                    <a:pt x="838235" y="-156"/>
                  </a:lnTo>
                  <a:lnTo>
                    <a:pt x="838235" y="103410"/>
                  </a:lnTo>
                  <a:lnTo>
                    <a:pt x="717408" y="103410"/>
                  </a:lnTo>
                  <a:close/>
                  <a:moveTo>
                    <a:pt x="953308" y="195469"/>
                  </a:moveTo>
                  <a:lnTo>
                    <a:pt x="1074135" y="195469"/>
                  </a:lnTo>
                  <a:lnTo>
                    <a:pt x="1074135" y="229991"/>
                  </a:lnTo>
                  <a:lnTo>
                    <a:pt x="953308" y="229991"/>
                  </a:lnTo>
                  <a:close/>
                  <a:moveTo>
                    <a:pt x="1194962" y="97656"/>
                  </a:moveTo>
                  <a:lnTo>
                    <a:pt x="1310035" y="97656"/>
                  </a:lnTo>
                  <a:lnTo>
                    <a:pt x="1310035" y="178208"/>
                  </a:lnTo>
                  <a:lnTo>
                    <a:pt x="1194962" y="178208"/>
                  </a:lnTo>
                  <a:close/>
                  <a:moveTo>
                    <a:pt x="1430862" y="241498"/>
                  </a:moveTo>
                  <a:lnTo>
                    <a:pt x="1551689" y="241498"/>
                  </a:lnTo>
                  <a:lnTo>
                    <a:pt x="1551689" y="368079"/>
                  </a:lnTo>
                  <a:lnTo>
                    <a:pt x="1430862" y="368079"/>
                  </a:lnTo>
                  <a:close/>
                  <a:moveTo>
                    <a:pt x="1672516" y="362325"/>
                  </a:moveTo>
                  <a:lnTo>
                    <a:pt x="1787589" y="362325"/>
                  </a:lnTo>
                  <a:lnTo>
                    <a:pt x="1787589" y="598225"/>
                  </a:lnTo>
                  <a:lnTo>
                    <a:pt x="1672516" y="598225"/>
                  </a:lnTo>
                  <a:close/>
                  <a:moveTo>
                    <a:pt x="1908416" y="178208"/>
                  </a:moveTo>
                  <a:lnTo>
                    <a:pt x="2029243" y="178208"/>
                  </a:lnTo>
                  <a:lnTo>
                    <a:pt x="2029243" y="540689"/>
                  </a:lnTo>
                  <a:lnTo>
                    <a:pt x="1908416" y="540689"/>
                  </a:lnTo>
                  <a:close/>
                  <a:moveTo>
                    <a:pt x="2150070" y="684530"/>
                  </a:moveTo>
                  <a:lnTo>
                    <a:pt x="2265143" y="684530"/>
                  </a:lnTo>
                  <a:lnTo>
                    <a:pt x="2265143" y="1035504"/>
                  </a:lnTo>
                  <a:lnTo>
                    <a:pt x="2150070" y="1035504"/>
                  </a:lnTo>
                  <a:close/>
                  <a:moveTo>
                    <a:pt x="2385970" y="885909"/>
                  </a:moveTo>
                  <a:lnTo>
                    <a:pt x="2506797" y="885909"/>
                  </a:lnTo>
                  <a:lnTo>
                    <a:pt x="2506797" y="1213868"/>
                  </a:lnTo>
                  <a:lnTo>
                    <a:pt x="2385970" y="1213868"/>
                  </a:lnTo>
                  <a:close/>
                  <a:moveTo>
                    <a:pt x="2627624" y="1058519"/>
                  </a:moveTo>
                  <a:lnTo>
                    <a:pt x="2742697" y="1058519"/>
                  </a:lnTo>
                  <a:lnTo>
                    <a:pt x="2742697" y="1369217"/>
                  </a:lnTo>
                  <a:lnTo>
                    <a:pt x="2627624" y="1369217"/>
                  </a:lnTo>
                  <a:close/>
                  <a:moveTo>
                    <a:pt x="2863524" y="1231129"/>
                  </a:moveTo>
                  <a:lnTo>
                    <a:pt x="2984351" y="1231129"/>
                  </a:lnTo>
                  <a:lnTo>
                    <a:pt x="2984351" y="1530320"/>
                  </a:lnTo>
                  <a:lnTo>
                    <a:pt x="2863524" y="1530320"/>
                  </a:lnTo>
                  <a:close/>
                  <a:moveTo>
                    <a:pt x="3105178" y="1369217"/>
                  </a:moveTo>
                  <a:lnTo>
                    <a:pt x="3220252" y="1369217"/>
                  </a:lnTo>
                  <a:lnTo>
                    <a:pt x="3220252" y="1587856"/>
                  </a:lnTo>
                  <a:lnTo>
                    <a:pt x="3105178" y="1587856"/>
                  </a:lnTo>
                  <a:close/>
                  <a:moveTo>
                    <a:pt x="3341078" y="1438261"/>
                  </a:moveTo>
                  <a:lnTo>
                    <a:pt x="3461905" y="1438261"/>
                  </a:lnTo>
                  <a:lnTo>
                    <a:pt x="3461905" y="1518812"/>
                  </a:lnTo>
                  <a:lnTo>
                    <a:pt x="3341078" y="1518812"/>
                  </a:lnTo>
                  <a:close/>
                  <a:moveTo>
                    <a:pt x="3582732" y="1328941"/>
                  </a:moveTo>
                  <a:lnTo>
                    <a:pt x="3697806" y="1328941"/>
                  </a:lnTo>
                  <a:lnTo>
                    <a:pt x="3697806" y="1518812"/>
                  </a:lnTo>
                  <a:lnTo>
                    <a:pt x="3582732" y="1518812"/>
                  </a:lnTo>
                  <a:close/>
                  <a:moveTo>
                    <a:pt x="3818633" y="1455522"/>
                  </a:moveTo>
                  <a:lnTo>
                    <a:pt x="3939459" y="1455522"/>
                  </a:lnTo>
                  <a:lnTo>
                    <a:pt x="3939459" y="1633886"/>
                  </a:lnTo>
                  <a:lnTo>
                    <a:pt x="3818633" y="1633886"/>
                  </a:lnTo>
                  <a:close/>
                </a:path>
              </a:pathLst>
            </a:custGeom>
            <a:solidFill>
              <a:schemeClr val="tx1">
                <a:lumMod val="75000"/>
              </a:schemeClr>
            </a:solidFill>
            <a:ln w="5744" cap="flat">
              <a:noFill/>
              <a:prstDash val="solid"/>
              <a:miter/>
            </a:ln>
          </p:spPr>
          <p:txBody>
            <a:bodyPr rtlCol="0" anchor="ctr"/>
            <a:lstStyle/>
            <a:p>
              <a:endParaRPr lang="nl-BE"/>
            </a:p>
          </p:txBody>
        </p:sp>
        <p:sp>
          <p:nvSpPr>
            <p:cNvPr id="55" name="Vrije vorm 62">
              <a:extLst>
                <a:ext uri="{FF2B5EF4-FFF2-40B4-BE49-F238E27FC236}">
                  <a16:creationId xmlns:a16="http://schemas.microsoft.com/office/drawing/2014/main" id="{FEC123D5-B593-51CC-5F59-A35F0DAAB5AD}"/>
                </a:ext>
              </a:extLst>
            </p:cNvPr>
            <p:cNvSpPr/>
            <p:nvPr/>
          </p:nvSpPr>
          <p:spPr>
            <a:xfrm>
              <a:off x="4692276" y="4349996"/>
              <a:ext cx="4062086" cy="5753"/>
            </a:xfrm>
            <a:custGeom>
              <a:avLst/>
              <a:gdLst>
                <a:gd name="connsiteX0" fmla="*/ -1800 w 4062086"/>
                <a:gd name="connsiteY0" fmla="*/ -156 h 5753"/>
                <a:gd name="connsiteX1" fmla="*/ 4060286 w 4062086"/>
                <a:gd name="connsiteY1" fmla="*/ -156 h 5753"/>
              </a:gdLst>
              <a:ahLst/>
              <a:cxnLst>
                <a:cxn ang="0">
                  <a:pos x="connsiteX0" y="connsiteY0"/>
                </a:cxn>
                <a:cxn ang="0">
                  <a:pos x="connsiteX1" y="connsiteY1"/>
                </a:cxn>
              </a:cxnLst>
              <a:rect l="l" t="t" r="r" b="b"/>
              <a:pathLst>
                <a:path w="4062086" h="5753">
                  <a:moveTo>
                    <a:pt x="-1800" y="-156"/>
                  </a:moveTo>
                  <a:lnTo>
                    <a:pt x="4060286" y="-156"/>
                  </a:lnTo>
                </a:path>
              </a:pathLst>
            </a:custGeom>
            <a:noFill/>
            <a:ln w="5744" cap="flat">
              <a:solidFill>
                <a:srgbClr val="D9D9D9"/>
              </a:solidFill>
              <a:prstDash val="solid"/>
              <a:round/>
            </a:ln>
          </p:spPr>
          <p:txBody>
            <a:bodyPr rtlCol="0" anchor="ctr"/>
            <a:lstStyle/>
            <a:p>
              <a:endParaRPr lang="nl-BE"/>
            </a:p>
          </p:txBody>
        </p:sp>
        <p:sp>
          <p:nvSpPr>
            <p:cNvPr id="56" name="Tekstvak 63">
              <a:extLst>
                <a:ext uri="{FF2B5EF4-FFF2-40B4-BE49-F238E27FC236}">
                  <a16:creationId xmlns:a16="http://schemas.microsoft.com/office/drawing/2014/main" id="{A6562B8A-03F8-25EB-62A9-E05320A9E196}"/>
                </a:ext>
              </a:extLst>
            </p:cNvPr>
            <p:cNvSpPr txBox="1"/>
            <p:nvPr/>
          </p:nvSpPr>
          <p:spPr>
            <a:xfrm>
              <a:off x="4471321" y="4243862"/>
              <a:ext cx="8976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0</a:t>
              </a:r>
            </a:p>
          </p:txBody>
        </p:sp>
        <p:sp>
          <p:nvSpPr>
            <p:cNvPr id="57" name="Tekstvak 64">
              <a:extLst>
                <a:ext uri="{FF2B5EF4-FFF2-40B4-BE49-F238E27FC236}">
                  <a16:creationId xmlns:a16="http://schemas.microsoft.com/office/drawing/2014/main" id="{C481F18F-86DA-8408-A952-CAEC60130638}"/>
                </a:ext>
              </a:extLst>
            </p:cNvPr>
            <p:cNvSpPr txBox="1"/>
            <p:nvPr/>
          </p:nvSpPr>
          <p:spPr>
            <a:xfrm>
              <a:off x="4424659" y="3944671"/>
              <a:ext cx="16511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20</a:t>
              </a:r>
            </a:p>
          </p:txBody>
        </p:sp>
        <p:sp>
          <p:nvSpPr>
            <p:cNvPr id="58" name="Tekstvak 65">
              <a:extLst>
                <a:ext uri="{FF2B5EF4-FFF2-40B4-BE49-F238E27FC236}">
                  <a16:creationId xmlns:a16="http://schemas.microsoft.com/office/drawing/2014/main" id="{25C075D7-8D04-02AD-7552-91FAEE7E5994}"/>
                </a:ext>
              </a:extLst>
            </p:cNvPr>
            <p:cNvSpPr txBox="1"/>
            <p:nvPr/>
          </p:nvSpPr>
          <p:spPr>
            <a:xfrm>
              <a:off x="4424659" y="3645481"/>
              <a:ext cx="17633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40</a:t>
              </a:r>
            </a:p>
          </p:txBody>
        </p:sp>
        <p:sp>
          <p:nvSpPr>
            <p:cNvPr id="59" name="Tekstvak 66">
              <a:extLst>
                <a:ext uri="{FF2B5EF4-FFF2-40B4-BE49-F238E27FC236}">
                  <a16:creationId xmlns:a16="http://schemas.microsoft.com/office/drawing/2014/main" id="{C56A3F47-8BB5-DA0D-1DC8-36187B7084EC}"/>
                </a:ext>
              </a:extLst>
            </p:cNvPr>
            <p:cNvSpPr txBox="1"/>
            <p:nvPr/>
          </p:nvSpPr>
          <p:spPr>
            <a:xfrm>
              <a:off x="4424659" y="3346290"/>
              <a:ext cx="17152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60</a:t>
              </a:r>
            </a:p>
          </p:txBody>
        </p:sp>
        <p:sp>
          <p:nvSpPr>
            <p:cNvPr id="60" name="Tekstvak 67">
              <a:extLst>
                <a:ext uri="{FF2B5EF4-FFF2-40B4-BE49-F238E27FC236}">
                  <a16:creationId xmlns:a16="http://schemas.microsoft.com/office/drawing/2014/main" id="{A753106A-9F4B-35A0-CE39-30706269C01E}"/>
                </a:ext>
              </a:extLst>
            </p:cNvPr>
            <p:cNvSpPr txBox="1"/>
            <p:nvPr/>
          </p:nvSpPr>
          <p:spPr>
            <a:xfrm>
              <a:off x="4424659" y="3047099"/>
              <a:ext cx="17472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80</a:t>
              </a:r>
            </a:p>
          </p:txBody>
        </p:sp>
        <p:sp>
          <p:nvSpPr>
            <p:cNvPr id="61" name="Tekstvak 68">
              <a:extLst>
                <a:ext uri="{FF2B5EF4-FFF2-40B4-BE49-F238E27FC236}">
                  <a16:creationId xmlns:a16="http://schemas.microsoft.com/office/drawing/2014/main" id="{177E2E31-53E6-9684-D9F4-50F0A6F93358}"/>
                </a:ext>
              </a:extLst>
            </p:cNvPr>
            <p:cNvSpPr txBox="1"/>
            <p:nvPr/>
          </p:nvSpPr>
          <p:spPr>
            <a:xfrm>
              <a:off x="4377996" y="2747909"/>
              <a:ext cx="24686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100</a:t>
              </a:r>
            </a:p>
          </p:txBody>
        </p:sp>
        <p:sp>
          <p:nvSpPr>
            <p:cNvPr id="62" name="Tekstvak 69">
              <a:extLst>
                <a:ext uri="{FF2B5EF4-FFF2-40B4-BE49-F238E27FC236}">
                  <a16:creationId xmlns:a16="http://schemas.microsoft.com/office/drawing/2014/main" id="{7E42E199-7D49-7F47-CDBD-0C2B393B3B98}"/>
                </a:ext>
              </a:extLst>
            </p:cNvPr>
            <p:cNvSpPr txBox="1"/>
            <p:nvPr/>
          </p:nvSpPr>
          <p:spPr>
            <a:xfrm>
              <a:off x="4377996" y="2448718"/>
              <a:ext cx="23243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120</a:t>
              </a:r>
            </a:p>
          </p:txBody>
        </p:sp>
        <p:sp>
          <p:nvSpPr>
            <p:cNvPr id="63" name="Tekstvak 70">
              <a:extLst>
                <a:ext uri="{FF2B5EF4-FFF2-40B4-BE49-F238E27FC236}">
                  <a16:creationId xmlns:a16="http://schemas.microsoft.com/office/drawing/2014/main" id="{8A61733F-528A-0E15-60FD-DC086526A5FE}"/>
                </a:ext>
              </a:extLst>
            </p:cNvPr>
            <p:cNvSpPr txBox="1"/>
            <p:nvPr/>
          </p:nvSpPr>
          <p:spPr>
            <a:xfrm>
              <a:off x="4722948" y="4399211"/>
              <a:ext cx="16190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4</a:t>
              </a:r>
            </a:p>
          </p:txBody>
        </p:sp>
        <p:sp>
          <p:nvSpPr>
            <p:cNvPr id="64" name="Tekstvak 71">
              <a:extLst>
                <a:ext uri="{FF2B5EF4-FFF2-40B4-BE49-F238E27FC236}">
                  <a16:creationId xmlns:a16="http://schemas.microsoft.com/office/drawing/2014/main" id="{B8E407AD-F5C6-B223-5110-B1CF419A8604}"/>
                </a:ext>
              </a:extLst>
            </p:cNvPr>
            <p:cNvSpPr txBox="1"/>
            <p:nvPr/>
          </p:nvSpPr>
          <p:spPr>
            <a:xfrm>
              <a:off x="4966507"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5</a:t>
              </a:r>
            </a:p>
          </p:txBody>
        </p:sp>
        <p:sp>
          <p:nvSpPr>
            <p:cNvPr id="65" name="Tekstvak 72">
              <a:extLst>
                <a:ext uri="{FF2B5EF4-FFF2-40B4-BE49-F238E27FC236}">
                  <a16:creationId xmlns:a16="http://schemas.microsoft.com/office/drawing/2014/main" id="{3160B364-E959-4CEF-2957-0455709CB79D}"/>
                </a:ext>
              </a:extLst>
            </p:cNvPr>
            <p:cNvSpPr txBox="1"/>
            <p:nvPr/>
          </p:nvSpPr>
          <p:spPr>
            <a:xfrm>
              <a:off x="5203654"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6</a:t>
              </a:r>
            </a:p>
          </p:txBody>
        </p:sp>
        <p:sp>
          <p:nvSpPr>
            <p:cNvPr id="66" name="Tekstvak 73">
              <a:extLst>
                <a:ext uri="{FF2B5EF4-FFF2-40B4-BE49-F238E27FC236}">
                  <a16:creationId xmlns:a16="http://schemas.microsoft.com/office/drawing/2014/main" id="{CD1DCDD5-4A9F-3E90-7DBA-D792A924D3DB}"/>
                </a:ext>
              </a:extLst>
            </p:cNvPr>
            <p:cNvSpPr txBox="1"/>
            <p:nvPr/>
          </p:nvSpPr>
          <p:spPr>
            <a:xfrm>
              <a:off x="5447619"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7</a:t>
              </a:r>
            </a:p>
          </p:txBody>
        </p:sp>
        <p:sp>
          <p:nvSpPr>
            <p:cNvPr id="67" name="Tekstvak 74">
              <a:extLst>
                <a:ext uri="{FF2B5EF4-FFF2-40B4-BE49-F238E27FC236}">
                  <a16:creationId xmlns:a16="http://schemas.microsoft.com/office/drawing/2014/main" id="{62BC2180-4EFB-4421-6574-1F78FBE07CF3}"/>
                </a:ext>
              </a:extLst>
            </p:cNvPr>
            <p:cNvSpPr txBox="1"/>
            <p:nvPr/>
          </p:nvSpPr>
          <p:spPr>
            <a:xfrm>
              <a:off x="5675818" y="4399211"/>
              <a:ext cx="15869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8</a:t>
              </a:r>
            </a:p>
          </p:txBody>
        </p:sp>
        <p:sp>
          <p:nvSpPr>
            <p:cNvPr id="68" name="Tekstvak 75">
              <a:extLst>
                <a:ext uri="{FF2B5EF4-FFF2-40B4-BE49-F238E27FC236}">
                  <a16:creationId xmlns:a16="http://schemas.microsoft.com/office/drawing/2014/main" id="{DA2FEB98-5F7B-A3F8-31C5-5CDCE365DE0E}"/>
                </a:ext>
              </a:extLst>
            </p:cNvPr>
            <p:cNvSpPr txBox="1"/>
            <p:nvPr/>
          </p:nvSpPr>
          <p:spPr>
            <a:xfrm>
              <a:off x="5919229"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9</a:t>
              </a:r>
            </a:p>
          </p:txBody>
        </p:sp>
        <p:sp>
          <p:nvSpPr>
            <p:cNvPr id="69" name="Tekstvak 76">
              <a:extLst>
                <a:ext uri="{FF2B5EF4-FFF2-40B4-BE49-F238E27FC236}">
                  <a16:creationId xmlns:a16="http://schemas.microsoft.com/office/drawing/2014/main" id="{759859F3-573A-B0A2-EA4D-7777A7154078}"/>
                </a:ext>
              </a:extLst>
            </p:cNvPr>
            <p:cNvSpPr txBox="1"/>
            <p:nvPr/>
          </p:nvSpPr>
          <p:spPr>
            <a:xfrm>
              <a:off x="6155015" y="4399211"/>
              <a:ext cx="16350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0</a:t>
              </a:r>
            </a:p>
          </p:txBody>
        </p:sp>
        <p:sp>
          <p:nvSpPr>
            <p:cNvPr id="70" name="Tekstvak 77">
              <a:extLst>
                <a:ext uri="{FF2B5EF4-FFF2-40B4-BE49-F238E27FC236}">
                  <a16:creationId xmlns:a16="http://schemas.microsoft.com/office/drawing/2014/main" id="{AF384FE5-E120-E575-6C83-DFF0924FB851}"/>
                </a:ext>
              </a:extLst>
            </p:cNvPr>
            <p:cNvSpPr txBox="1"/>
            <p:nvPr/>
          </p:nvSpPr>
          <p:spPr>
            <a:xfrm>
              <a:off x="6411383"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1</a:t>
              </a:r>
            </a:p>
          </p:txBody>
        </p:sp>
        <p:sp>
          <p:nvSpPr>
            <p:cNvPr id="71" name="Tekstvak 78">
              <a:extLst>
                <a:ext uri="{FF2B5EF4-FFF2-40B4-BE49-F238E27FC236}">
                  <a16:creationId xmlns:a16="http://schemas.microsoft.com/office/drawing/2014/main" id="{5444D487-E8E2-B856-BA6C-C9037AB267C9}"/>
                </a:ext>
              </a:extLst>
            </p:cNvPr>
            <p:cNvSpPr txBox="1"/>
            <p:nvPr/>
          </p:nvSpPr>
          <p:spPr>
            <a:xfrm>
              <a:off x="6647070" y="4399211"/>
              <a:ext cx="14747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2</a:t>
              </a:r>
            </a:p>
          </p:txBody>
        </p:sp>
        <p:sp>
          <p:nvSpPr>
            <p:cNvPr id="72" name="Tekstvak 79">
              <a:extLst>
                <a:ext uri="{FF2B5EF4-FFF2-40B4-BE49-F238E27FC236}">
                  <a16:creationId xmlns:a16="http://schemas.microsoft.com/office/drawing/2014/main" id="{D1A1AEF7-F743-F575-9554-35784F9C2E06}"/>
                </a:ext>
              </a:extLst>
            </p:cNvPr>
            <p:cNvSpPr txBox="1"/>
            <p:nvPr/>
          </p:nvSpPr>
          <p:spPr>
            <a:xfrm>
              <a:off x="6889318" y="4399211"/>
              <a:ext cx="14747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3</a:t>
              </a:r>
            </a:p>
          </p:txBody>
        </p:sp>
        <p:sp>
          <p:nvSpPr>
            <p:cNvPr id="73" name="Tekstvak 80">
              <a:extLst>
                <a:ext uri="{FF2B5EF4-FFF2-40B4-BE49-F238E27FC236}">
                  <a16:creationId xmlns:a16="http://schemas.microsoft.com/office/drawing/2014/main" id="{FC0C6A1C-B13E-C461-3A46-2644343E755E}"/>
                </a:ext>
              </a:extLst>
            </p:cNvPr>
            <p:cNvSpPr txBox="1"/>
            <p:nvPr/>
          </p:nvSpPr>
          <p:spPr>
            <a:xfrm>
              <a:off x="7119800" y="4399211"/>
              <a:ext cx="16030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4</a:t>
              </a:r>
            </a:p>
          </p:txBody>
        </p:sp>
        <p:sp>
          <p:nvSpPr>
            <p:cNvPr id="74" name="Tekstvak 81">
              <a:extLst>
                <a:ext uri="{FF2B5EF4-FFF2-40B4-BE49-F238E27FC236}">
                  <a16:creationId xmlns:a16="http://schemas.microsoft.com/office/drawing/2014/main" id="{A779B67C-965A-41C4-BB96-681F6A4068A0}"/>
                </a:ext>
              </a:extLst>
            </p:cNvPr>
            <p:cNvSpPr txBox="1"/>
            <p:nvPr/>
          </p:nvSpPr>
          <p:spPr>
            <a:xfrm>
              <a:off x="7365128" y="4399211"/>
              <a:ext cx="15388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5</a:t>
              </a:r>
            </a:p>
          </p:txBody>
        </p:sp>
        <p:sp>
          <p:nvSpPr>
            <p:cNvPr id="75" name="Tekstvak 82">
              <a:extLst>
                <a:ext uri="{FF2B5EF4-FFF2-40B4-BE49-F238E27FC236}">
                  <a16:creationId xmlns:a16="http://schemas.microsoft.com/office/drawing/2014/main" id="{65B1401C-A507-86F7-6E69-9B8D568B2B4D}"/>
                </a:ext>
              </a:extLst>
            </p:cNvPr>
            <p:cNvSpPr txBox="1"/>
            <p:nvPr/>
          </p:nvSpPr>
          <p:spPr>
            <a:xfrm>
              <a:off x="7602837"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6</a:t>
              </a:r>
            </a:p>
          </p:txBody>
        </p:sp>
        <p:sp>
          <p:nvSpPr>
            <p:cNvPr id="76" name="Tekstvak 83">
              <a:extLst>
                <a:ext uri="{FF2B5EF4-FFF2-40B4-BE49-F238E27FC236}">
                  <a16:creationId xmlns:a16="http://schemas.microsoft.com/office/drawing/2014/main" id="{9A051FC8-F212-F202-16CF-14D6B17856C4}"/>
                </a:ext>
              </a:extLst>
            </p:cNvPr>
            <p:cNvSpPr txBox="1"/>
            <p:nvPr/>
          </p:nvSpPr>
          <p:spPr>
            <a:xfrm>
              <a:off x="7846802"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7</a:t>
              </a:r>
            </a:p>
          </p:txBody>
        </p:sp>
        <p:sp>
          <p:nvSpPr>
            <p:cNvPr id="77" name="Tekstvak 84">
              <a:extLst>
                <a:ext uri="{FF2B5EF4-FFF2-40B4-BE49-F238E27FC236}">
                  <a16:creationId xmlns:a16="http://schemas.microsoft.com/office/drawing/2014/main" id="{5A26EEBB-D109-27E6-A7B5-5C841BB35055}"/>
                </a:ext>
              </a:extLst>
            </p:cNvPr>
            <p:cNvSpPr txBox="1"/>
            <p:nvPr/>
          </p:nvSpPr>
          <p:spPr>
            <a:xfrm>
              <a:off x="8075847" y="4399211"/>
              <a:ext cx="15869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8</a:t>
              </a:r>
            </a:p>
          </p:txBody>
        </p:sp>
        <p:sp>
          <p:nvSpPr>
            <p:cNvPr id="78" name="Tekstvak 85">
              <a:extLst>
                <a:ext uri="{FF2B5EF4-FFF2-40B4-BE49-F238E27FC236}">
                  <a16:creationId xmlns:a16="http://schemas.microsoft.com/office/drawing/2014/main" id="{9A4A8132-48A3-547B-D27D-8FD0E782AAF3}"/>
                </a:ext>
              </a:extLst>
            </p:cNvPr>
            <p:cNvSpPr txBox="1"/>
            <p:nvPr/>
          </p:nvSpPr>
          <p:spPr>
            <a:xfrm>
              <a:off x="8317129"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9</a:t>
              </a:r>
            </a:p>
          </p:txBody>
        </p:sp>
        <p:sp>
          <p:nvSpPr>
            <p:cNvPr id="79" name="Tekstvak 86">
              <a:extLst>
                <a:ext uri="{FF2B5EF4-FFF2-40B4-BE49-F238E27FC236}">
                  <a16:creationId xmlns:a16="http://schemas.microsoft.com/office/drawing/2014/main" id="{0532221A-E2E4-C4E4-628F-B78EDA00A3AA}"/>
                </a:ext>
              </a:extLst>
            </p:cNvPr>
            <p:cNvSpPr txBox="1"/>
            <p:nvPr/>
          </p:nvSpPr>
          <p:spPr>
            <a:xfrm>
              <a:off x="8544706" y="4399211"/>
              <a:ext cx="194028" cy="153888"/>
            </a:xfrm>
            <a:prstGeom prst="rect">
              <a:avLst/>
            </a:prstGeom>
            <a:noFill/>
          </p:spPr>
          <p:txBody>
            <a:bodyPr wrap="square" lIns="0" tIns="0" rIns="0" bIns="0" rtlCol="0">
              <a:spAutoFit/>
            </a:bodyPr>
            <a:lstStyle/>
            <a:p>
              <a:pPr algn="l" defTabSz="685800"/>
              <a:r>
                <a:rPr lang="nl-BE" sz="1000" spc="0" baseline="0">
                  <a:ln/>
                  <a:solidFill>
                    <a:srgbClr val="595959"/>
                  </a:solidFill>
                  <a:latin typeface="Proximus Light" pitchFamily="2" charset="77"/>
                  <a:sym typeface="Proximus"/>
                  <a:rtl val="0"/>
                </a:rPr>
                <a:t>40</a:t>
              </a:r>
            </a:p>
          </p:txBody>
        </p:sp>
        <p:sp>
          <p:nvSpPr>
            <p:cNvPr id="80" name="Tekstvak 87">
              <a:extLst>
                <a:ext uri="{FF2B5EF4-FFF2-40B4-BE49-F238E27FC236}">
                  <a16:creationId xmlns:a16="http://schemas.microsoft.com/office/drawing/2014/main" id="{1593C344-1CE3-ADC5-FDA3-517E28E2AF15}"/>
                </a:ext>
              </a:extLst>
            </p:cNvPr>
            <p:cNvSpPr txBox="1"/>
            <p:nvPr/>
          </p:nvSpPr>
          <p:spPr>
            <a:xfrm rot="16200000">
              <a:off x="3050210" y="3337311"/>
              <a:ext cx="2290692" cy="143762"/>
            </a:xfrm>
            <a:prstGeom prst="rect">
              <a:avLst/>
            </a:prstGeom>
            <a:noFill/>
          </p:spPr>
          <p:txBody>
            <a:bodyPr wrap="square" lIns="0" tIns="0" rIns="0" bIns="0" rtlCol="0">
              <a:spAutoFit/>
            </a:bodyPr>
            <a:lstStyle/>
            <a:p>
              <a:pPr algn="l" defTabSz="685800"/>
              <a:r>
                <a:rPr lang="nl-BE" sz="1000" b="1" spc="0" baseline="0">
                  <a:ln/>
                  <a:solidFill>
                    <a:srgbClr val="000000"/>
                  </a:solidFill>
                  <a:latin typeface="Proximus Bold" pitchFamily="2" charset="77"/>
                  <a:cs typeface="Calibri"/>
                  <a:sym typeface="Calibri"/>
                  <a:rtl val="0"/>
                </a:rPr>
                <a:t>Ongoing projects </a:t>
              </a:r>
              <a:r>
                <a:rPr lang="nl-BE" sz="1000" spc="0" baseline="0">
                  <a:ln/>
                  <a:solidFill>
                    <a:srgbClr val="000000"/>
                  </a:solidFill>
                  <a:latin typeface="Proximus Light" pitchFamily="2" charset="77"/>
                  <a:cs typeface="Calibri"/>
                  <a:sym typeface="Calibri"/>
                  <a:rtl val="0"/>
                </a:rPr>
                <a:t>(x 1.000 m²)</a:t>
              </a:r>
            </a:p>
          </p:txBody>
        </p:sp>
        <p:sp>
          <p:nvSpPr>
            <p:cNvPr id="81" name="Vrije vorm 88">
              <a:extLst>
                <a:ext uri="{FF2B5EF4-FFF2-40B4-BE49-F238E27FC236}">
                  <a16:creationId xmlns:a16="http://schemas.microsoft.com/office/drawing/2014/main" id="{80FCF7B4-AA8F-7C63-B48D-F5F228BECBB0}"/>
                </a:ext>
              </a:extLst>
            </p:cNvPr>
            <p:cNvSpPr/>
            <p:nvPr/>
          </p:nvSpPr>
          <p:spPr>
            <a:xfrm>
              <a:off x="7583492" y="2937470"/>
              <a:ext cx="69043" cy="69044"/>
            </a:xfrm>
            <a:custGeom>
              <a:avLst/>
              <a:gdLst>
                <a:gd name="connsiteX0" fmla="*/ -1800 w 69043"/>
                <a:gd name="connsiteY0" fmla="*/ -156 h 69044"/>
                <a:gd name="connsiteX1" fmla="*/ 67244 w 69043"/>
                <a:gd name="connsiteY1" fmla="*/ -156 h 69044"/>
                <a:gd name="connsiteX2" fmla="*/ 67244 w 69043"/>
                <a:gd name="connsiteY2" fmla="*/ 68888 h 69044"/>
                <a:gd name="connsiteX3" fmla="*/ -1800 w 69043"/>
                <a:gd name="connsiteY3" fmla="*/ 68888 h 69044"/>
              </a:gdLst>
              <a:ahLst/>
              <a:cxnLst>
                <a:cxn ang="0">
                  <a:pos x="connsiteX0" y="connsiteY0"/>
                </a:cxn>
                <a:cxn ang="0">
                  <a:pos x="connsiteX1" y="connsiteY1"/>
                </a:cxn>
                <a:cxn ang="0">
                  <a:pos x="connsiteX2" y="connsiteY2"/>
                </a:cxn>
                <a:cxn ang="0">
                  <a:pos x="connsiteX3" y="connsiteY3"/>
                </a:cxn>
              </a:cxnLst>
              <a:rect l="l" t="t" r="r" b="b"/>
              <a:pathLst>
                <a:path w="69043" h="69044">
                  <a:moveTo>
                    <a:pt x="-1800" y="-156"/>
                  </a:moveTo>
                  <a:lnTo>
                    <a:pt x="67244" y="-156"/>
                  </a:lnTo>
                  <a:lnTo>
                    <a:pt x="67244" y="68888"/>
                  </a:lnTo>
                  <a:lnTo>
                    <a:pt x="-1800" y="68888"/>
                  </a:lnTo>
                  <a:close/>
                </a:path>
              </a:pathLst>
            </a:custGeom>
            <a:solidFill>
              <a:schemeClr val="tx1">
                <a:lumMod val="75000"/>
              </a:schemeClr>
            </a:solidFill>
            <a:ln w="5744" cap="flat">
              <a:noFill/>
              <a:prstDash val="solid"/>
              <a:miter/>
            </a:ln>
          </p:spPr>
          <p:txBody>
            <a:bodyPr rtlCol="0" anchor="ctr"/>
            <a:lstStyle/>
            <a:p>
              <a:endParaRPr lang="nl-BE"/>
            </a:p>
          </p:txBody>
        </p:sp>
        <p:sp>
          <p:nvSpPr>
            <p:cNvPr id="82" name="Tekstvak 89">
              <a:extLst>
                <a:ext uri="{FF2B5EF4-FFF2-40B4-BE49-F238E27FC236}">
                  <a16:creationId xmlns:a16="http://schemas.microsoft.com/office/drawing/2014/main" id="{E101B9D5-700F-B8BE-9E61-475522F205FA}"/>
                </a:ext>
              </a:extLst>
            </p:cNvPr>
            <p:cNvSpPr txBox="1"/>
            <p:nvPr/>
          </p:nvSpPr>
          <p:spPr>
            <a:xfrm>
              <a:off x="7712219" y="2886705"/>
              <a:ext cx="331822"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Small</a:t>
              </a:r>
            </a:p>
          </p:txBody>
        </p:sp>
        <p:sp>
          <p:nvSpPr>
            <p:cNvPr id="83" name="Vrije vorm 90">
              <a:extLst>
                <a:ext uri="{FF2B5EF4-FFF2-40B4-BE49-F238E27FC236}">
                  <a16:creationId xmlns:a16="http://schemas.microsoft.com/office/drawing/2014/main" id="{7F7F1F09-C531-1120-1FDB-5ECA5F5B40A9}"/>
                </a:ext>
              </a:extLst>
            </p:cNvPr>
            <p:cNvSpPr/>
            <p:nvPr/>
          </p:nvSpPr>
          <p:spPr>
            <a:xfrm>
              <a:off x="7583492" y="3110080"/>
              <a:ext cx="69043" cy="63290"/>
            </a:xfrm>
            <a:custGeom>
              <a:avLst/>
              <a:gdLst>
                <a:gd name="connsiteX0" fmla="*/ -1800 w 69043"/>
                <a:gd name="connsiteY0" fmla="*/ -156 h 63290"/>
                <a:gd name="connsiteX1" fmla="*/ 67244 w 69043"/>
                <a:gd name="connsiteY1" fmla="*/ -156 h 63290"/>
                <a:gd name="connsiteX2" fmla="*/ 67244 w 69043"/>
                <a:gd name="connsiteY2" fmla="*/ 63134 h 63290"/>
                <a:gd name="connsiteX3" fmla="*/ -1800 w 69043"/>
                <a:gd name="connsiteY3" fmla="*/ 63134 h 63290"/>
              </a:gdLst>
              <a:ahLst/>
              <a:cxnLst>
                <a:cxn ang="0">
                  <a:pos x="connsiteX0" y="connsiteY0"/>
                </a:cxn>
                <a:cxn ang="0">
                  <a:pos x="connsiteX1" y="connsiteY1"/>
                </a:cxn>
                <a:cxn ang="0">
                  <a:pos x="connsiteX2" y="connsiteY2"/>
                </a:cxn>
                <a:cxn ang="0">
                  <a:pos x="connsiteX3" y="connsiteY3"/>
                </a:cxn>
              </a:cxnLst>
              <a:rect l="l" t="t" r="r" b="b"/>
              <a:pathLst>
                <a:path w="69043" h="63290">
                  <a:moveTo>
                    <a:pt x="-1800" y="-156"/>
                  </a:moveTo>
                  <a:lnTo>
                    <a:pt x="67244" y="-156"/>
                  </a:lnTo>
                  <a:lnTo>
                    <a:pt x="67244" y="63134"/>
                  </a:lnTo>
                  <a:lnTo>
                    <a:pt x="-1800" y="63134"/>
                  </a:lnTo>
                  <a:close/>
                </a:path>
              </a:pathLst>
            </a:custGeom>
            <a:solidFill>
              <a:schemeClr val="bg1"/>
            </a:solidFill>
            <a:ln w="5744" cap="flat">
              <a:noFill/>
              <a:prstDash val="solid"/>
              <a:miter/>
            </a:ln>
          </p:spPr>
          <p:txBody>
            <a:bodyPr rtlCol="0" anchor="ctr"/>
            <a:lstStyle/>
            <a:p>
              <a:endParaRPr lang="nl-BE"/>
            </a:p>
          </p:txBody>
        </p:sp>
        <p:sp>
          <p:nvSpPr>
            <p:cNvPr id="84" name="Tekstvak 91">
              <a:extLst>
                <a:ext uri="{FF2B5EF4-FFF2-40B4-BE49-F238E27FC236}">
                  <a16:creationId xmlns:a16="http://schemas.microsoft.com/office/drawing/2014/main" id="{69E06B26-65EF-0B86-3FFB-CD623D422885}"/>
                </a:ext>
              </a:extLst>
            </p:cNvPr>
            <p:cNvSpPr txBox="1"/>
            <p:nvPr/>
          </p:nvSpPr>
          <p:spPr>
            <a:xfrm>
              <a:off x="7712943" y="3058502"/>
              <a:ext cx="442429"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Medium</a:t>
              </a:r>
            </a:p>
          </p:txBody>
        </p:sp>
        <p:sp>
          <p:nvSpPr>
            <p:cNvPr id="85" name="Vrije vorm 92">
              <a:extLst>
                <a:ext uri="{FF2B5EF4-FFF2-40B4-BE49-F238E27FC236}">
                  <a16:creationId xmlns:a16="http://schemas.microsoft.com/office/drawing/2014/main" id="{92C09B57-943C-159C-A20D-D9DAD85ED61E}"/>
                </a:ext>
              </a:extLst>
            </p:cNvPr>
            <p:cNvSpPr/>
            <p:nvPr/>
          </p:nvSpPr>
          <p:spPr>
            <a:xfrm>
              <a:off x="7583492" y="3276937"/>
              <a:ext cx="69043" cy="69044"/>
            </a:xfrm>
            <a:custGeom>
              <a:avLst/>
              <a:gdLst>
                <a:gd name="connsiteX0" fmla="*/ -1800 w 69043"/>
                <a:gd name="connsiteY0" fmla="*/ -156 h 69044"/>
                <a:gd name="connsiteX1" fmla="*/ 67244 w 69043"/>
                <a:gd name="connsiteY1" fmla="*/ -156 h 69044"/>
                <a:gd name="connsiteX2" fmla="*/ 67244 w 69043"/>
                <a:gd name="connsiteY2" fmla="*/ 68888 h 69044"/>
                <a:gd name="connsiteX3" fmla="*/ -1800 w 69043"/>
                <a:gd name="connsiteY3" fmla="*/ 68888 h 69044"/>
              </a:gdLst>
              <a:ahLst/>
              <a:cxnLst>
                <a:cxn ang="0">
                  <a:pos x="connsiteX0" y="connsiteY0"/>
                </a:cxn>
                <a:cxn ang="0">
                  <a:pos x="connsiteX1" y="connsiteY1"/>
                </a:cxn>
                <a:cxn ang="0">
                  <a:pos x="connsiteX2" y="connsiteY2"/>
                </a:cxn>
                <a:cxn ang="0">
                  <a:pos x="connsiteX3" y="connsiteY3"/>
                </a:cxn>
              </a:cxnLst>
              <a:rect l="l" t="t" r="r" b="b"/>
              <a:pathLst>
                <a:path w="69043" h="69044">
                  <a:moveTo>
                    <a:pt x="-1800" y="-156"/>
                  </a:moveTo>
                  <a:lnTo>
                    <a:pt x="67244" y="-156"/>
                  </a:lnTo>
                  <a:lnTo>
                    <a:pt x="67244" y="68888"/>
                  </a:lnTo>
                  <a:lnTo>
                    <a:pt x="-1800" y="68888"/>
                  </a:lnTo>
                  <a:close/>
                </a:path>
              </a:pathLst>
            </a:custGeom>
            <a:solidFill>
              <a:schemeClr val="accent2"/>
            </a:solidFill>
            <a:ln w="5744" cap="flat">
              <a:noFill/>
              <a:prstDash val="solid"/>
              <a:miter/>
            </a:ln>
          </p:spPr>
          <p:txBody>
            <a:bodyPr rtlCol="0" anchor="ctr"/>
            <a:lstStyle/>
            <a:p>
              <a:endParaRPr lang="nl-BE"/>
            </a:p>
          </p:txBody>
        </p:sp>
        <p:sp>
          <p:nvSpPr>
            <p:cNvPr id="86" name="Tekstvak 93">
              <a:extLst>
                <a:ext uri="{FF2B5EF4-FFF2-40B4-BE49-F238E27FC236}">
                  <a16:creationId xmlns:a16="http://schemas.microsoft.com/office/drawing/2014/main" id="{33A1CE7A-C8BE-B46A-CC44-48E9A1B02C59}"/>
                </a:ext>
              </a:extLst>
            </p:cNvPr>
            <p:cNvSpPr txBox="1"/>
            <p:nvPr/>
          </p:nvSpPr>
          <p:spPr>
            <a:xfrm>
              <a:off x="7712219" y="3230148"/>
              <a:ext cx="322204"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Large</a:t>
              </a:r>
            </a:p>
          </p:txBody>
        </p:sp>
        <p:sp>
          <p:nvSpPr>
            <p:cNvPr id="87" name="TextBox 66">
              <a:extLst>
                <a:ext uri="{FF2B5EF4-FFF2-40B4-BE49-F238E27FC236}">
                  <a16:creationId xmlns:a16="http://schemas.microsoft.com/office/drawing/2014/main" id="{BDCE4E26-981B-26B5-2BAB-F2FFBED70292}"/>
                </a:ext>
              </a:extLst>
            </p:cNvPr>
            <p:cNvSpPr txBox="1"/>
            <p:nvPr/>
          </p:nvSpPr>
          <p:spPr>
            <a:xfrm>
              <a:off x="5044150" y="2060237"/>
              <a:ext cx="3043740" cy="165763"/>
            </a:xfrm>
            <a:prstGeom prst="rect">
              <a:avLst/>
            </a:prstGeom>
            <a:noFill/>
          </p:spPr>
          <p:txBody>
            <a:bodyPr wrap="square" lIns="27000" tIns="0" rIns="0" bIns="27000" rtlCol="0" anchor="t">
              <a:spAutoFit/>
            </a:bodyPr>
            <a:lstStyle/>
            <a:p>
              <a:pPr indent="-37148" defTabSz="685715">
                <a:spcBef>
                  <a:spcPts val="450"/>
                </a:spcBef>
                <a:spcAft>
                  <a:spcPts val="225"/>
                </a:spcAft>
                <a:buClr>
                  <a:srgbClr val="5C2D91"/>
                </a:buClr>
                <a:buSzPct val="100000"/>
              </a:pPr>
              <a:r>
                <a:rPr lang="en-GB" sz="900" b="1">
                  <a:solidFill>
                    <a:srgbClr val="000000"/>
                  </a:solidFill>
                  <a:latin typeface="Proximus Bold"/>
                </a:rPr>
                <a:t>Ongoing buildings </a:t>
              </a:r>
              <a:r>
                <a:rPr lang="en-GB" sz="900" b="1" err="1">
                  <a:solidFill>
                    <a:srgbClr val="000000"/>
                  </a:solidFill>
                  <a:latin typeface="Proximus Bold"/>
                </a:rPr>
                <a:t>outphasing</a:t>
              </a:r>
              <a:r>
                <a:rPr lang="en-GB" sz="900" b="1">
                  <a:solidFill>
                    <a:srgbClr val="000000"/>
                  </a:solidFill>
                  <a:latin typeface="Proximus Bold"/>
                </a:rPr>
                <a:t> surface</a:t>
              </a:r>
              <a:r>
                <a:rPr lang="en-GB" sz="900">
                  <a:solidFill>
                    <a:srgbClr val="000000"/>
                  </a:solidFill>
                  <a:latin typeface="Proximus Bold"/>
                </a:rPr>
                <a:t> </a:t>
              </a:r>
              <a:r>
                <a:rPr lang="en-GB" sz="900">
                  <a:solidFill>
                    <a:srgbClr val="000000"/>
                  </a:solidFill>
                  <a:latin typeface="Proximus Light" pitchFamily="2" charset="77"/>
                </a:rPr>
                <a:t>(x 1.000 m²)</a:t>
              </a:r>
            </a:p>
          </p:txBody>
        </p:sp>
      </p:grpSp>
    </p:spTree>
    <p:extLst>
      <p:ext uri="{BB962C8B-B14F-4D97-AF65-F5344CB8AC3E}">
        <p14:creationId xmlns:p14="http://schemas.microsoft.com/office/powerpoint/2010/main" val="2223564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1BE18-2D3D-A1A1-D8DD-C4F6426E09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ED876E-CAE6-AAC6-FA7B-D3624AE3ED13}"/>
              </a:ext>
            </a:extLst>
          </p:cNvPr>
          <p:cNvSpPr>
            <a:spLocks noGrp="1"/>
          </p:cNvSpPr>
          <p:nvPr>
            <p:ph type="title"/>
          </p:nvPr>
        </p:nvSpPr>
        <p:spPr>
          <a:xfrm>
            <a:off x="1226989" y="377826"/>
            <a:ext cx="7455051" cy="660092"/>
          </a:xfrm>
        </p:spPr>
        <p:txBody>
          <a:bodyPr anchor="ctr"/>
          <a:lstStyle/>
          <a:p>
            <a:r>
              <a:t>Texte :</a:t>
            </a:r>
          </a:p>
          <a:p>
            <a:r>
              <a:t>Déclassement des bâtiments en 2025</a:t>
            </a:r>
          </a:p>
        </p:txBody>
      </p:sp>
      <p:sp>
        <p:nvSpPr>
          <p:cNvPr id="39" name="!!OVAL_network">
            <a:extLst>
              <a:ext uri="{FF2B5EF4-FFF2-40B4-BE49-F238E27FC236}">
                <a16:creationId xmlns:a16="http://schemas.microsoft.com/office/drawing/2014/main" id="{8E01031B-B63D-DF5A-6191-B18F4C39223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CD601B73-A0E4-C282-B057-09832698E7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Text Placeholder 4">
            <a:extLst>
              <a:ext uri="{FF2B5EF4-FFF2-40B4-BE49-F238E27FC236}">
                <a16:creationId xmlns:a16="http://schemas.microsoft.com/office/drawing/2014/main" id="{B9D46B81-BB06-F8ED-3E69-ED9C8E2B7100}"/>
              </a:ext>
            </a:extLst>
          </p:cNvPr>
          <p:cNvSpPr txBox="1">
            <a:spLocks/>
          </p:cNvSpPr>
          <p:nvPr/>
        </p:nvSpPr>
        <p:spPr>
          <a:xfrm>
            <a:off x="460374" y="1393460"/>
            <a:ext cx="2592000" cy="2149840"/>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a:t>
            </a:r>
          </a:p>
          <a:p>
            <a:r>
              <a:t>Trouver des emplacements et des permis</a:t>
            </a:r>
          </a:p>
          <a:p>
            <a:r>
              <a:t>Fournir des conceptions de réseau</a:t>
            </a:r>
          </a:p>
          <a:p>
            <a:r>
              <a:t>Centre de contrôle de migration (CCM)</a:t>
            </a:r>
          </a:p>
        </p:txBody>
      </p:sp>
      <p:sp>
        <p:nvSpPr>
          <p:cNvPr id="6" name="Text Placeholder 4">
            <a:extLst>
              <a:ext uri="{FF2B5EF4-FFF2-40B4-BE49-F238E27FC236}">
                <a16:creationId xmlns:a16="http://schemas.microsoft.com/office/drawing/2014/main" id="{6DF97502-AB5D-FD12-8E53-41EC4D0BD5CA}"/>
              </a:ext>
            </a:extLst>
          </p:cNvPr>
          <p:cNvSpPr txBox="1">
            <a:spLocks/>
          </p:cNvSpPr>
          <p:nvPr/>
        </p:nvSpPr>
        <p:spPr>
          <a:xfrm>
            <a:off x="3280358" y="1387107"/>
            <a:ext cx="2592000" cy="3308718"/>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2</a:t>
            </a:r>
          </a:p>
          <a:p>
            <a:r>
              <a:t>Industrialiser davantage jusqu'à atteindre une échelle de 40 bâtiments par an dans les processus et les solutions</a:t>
            </a:r>
          </a:p>
          <a:p>
            <a:r>
              <a:t>Automatiser la ré-hébergement</a:t>
            </a:r>
          </a:p>
          <a:p>
            <a:r>
              <a:t>Optimus Souterrain</a:t>
            </a:r>
          </a:p>
        </p:txBody>
      </p:sp>
      <p:sp>
        <p:nvSpPr>
          <p:cNvPr id="8" name="Text Placeholder 4">
            <a:extLst>
              <a:ext uri="{FF2B5EF4-FFF2-40B4-BE49-F238E27FC236}">
                <a16:creationId xmlns:a16="http://schemas.microsoft.com/office/drawing/2014/main" id="{81784CEC-D05F-24D2-C797-A0FFF7572593}"/>
              </a:ext>
            </a:extLst>
          </p:cNvPr>
          <p:cNvSpPr txBox="1">
            <a:spLocks/>
          </p:cNvSpPr>
          <p:nvPr/>
        </p:nvSpPr>
        <p:spPr>
          <a:xfrm>
            <a:off x="6090040" y="3032551"/>
            <a:ext cx="2592000" cy="1663274"/>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11 bâtiments en cours de désaffectation</a:t>
            </a:r>
          </a:p>
          <a:p>
            <a:r>
              <a:t>25 bâtiments en cours d'exécution</a:t>
            </a:r>
          </a:p>
        </p:txBody>
      </p:sp>
      <p:sp>
        <p:nvSpPr>
          <p:cNvPr id="13" name="Freeform: Shape 12">
            <a:extLst>
              <a:ext uri="{FF2B5EF4-FFF2-40B4-BE49-F238E27FC236}">
                <a16:creationId xmlns:a16="http://schemas.microsoft.com/office/drawing/2014/main" id="{E095ED72-EB45-6772-BA28-E821C4D6B785}"/>
              </a:ext>
            </a:extLst>
          </p:cNvPr>
          <p:cNvSpPr>
            <a:spLocks noChangeAspect="1"/>
          </p:cNvSpPr>
          <p:nvPr/>
        </p:nvSpPr>
        <p:spPr>
          <a:xfrm>
            <a:off x="6100342" y="-221720"/>
            <a:ext cx="2590410" cy="3074648"/>
          </a:xfrm>
          <a:prstGeom prst="roundRect">
            <a:avLst>
              <a:gd name="adj" fmla="val 7354"/>
            </a:avLst>
          </a:prstGeom>
          <a:blipFill dpi="0" rotWithShape="1">
            <a:blip r:embed="rId5">
              <a:extLst>
                <a:ext uri="{28A0092B-C50C-407E-A947-70E740481C1C}">
                  <a14:useLocalDpi xmlns:a14="http://schemas.microsoft.com/office/drawing/2010/main" val="0"/>
                </a:ext>
              </a:extLst>
            </a:blip>
            <a:srcRect/>
            <a:stretch>
              <a:fillRect l="-55859" t="7212" r="-40591" b="-1"/>
            </a:stretch>
          </a:blipFill>
          <a:ln w="38100">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l" defTabSz="1218418"/>
            <a:endParaRPr lang="en-BE" sz="900" b="1">
              <a:solidFill>
                <a:schemeClr val="tx1"/>
              </a:solidFill>
              <a:latin typeface="Proximus Bold" panose="00000500000000000000" pitchFamily="2" charset="0"/>
              <a:cs typeface="Proximus Bold"/>
            </a:endParaRPr>
          </a:p>
        </p:txBody>
      </p:sp>
      <p:pic>
        <p:nvPicPr>
          <p:cNvPr id="14" name="image_0">
            <a:extLst>
              <a:ext uri="{FF2B5EF4-FFF2-40B4-BE49-F238E27FC236}">
                <a16:creationId xmlns:a16="http://schemas.microsoft.com/office/drawing/2014/main" id="{511C8894-BA09-7A0A-25D9-F599E575D53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6786" t="28809" r="16634" b="35601"/>
          <a:stretch/>
        </p:blipFill>
        <p:spPr bwMode="auto">
          <a:xfrm>
            <a:off x="6662882" y="3321387"/>
            <a:ext cx="1610421" cy="372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2" name="Rounded Rectangle 11">
            <a:extLst>
              <a:ext uri="{FF2B5EF4-FFF2-40B4-BE49-F238E27FC236}">
                <a16:creationId xmlns:a16="http://schemas.microsoft.com/office/drawing/2014/main" id="{229EF7F5-E5D7-F614-FE8B-9F40AC21C13D}"/>
              </a:ext>
            </a:extLst>
          </p:cNvPr>
          <p:cNvSpPr/>
          <p:nvPr/>
        </p:nvSpPr>
        <p:spPr>
          <a:xfrm>
            <a:off x="460375" y="3746727"/>
            <a:ext cx="2590056" cy="1856716"/>
          </a:xfrm>
          <a:prstGeom prst="roundRect">
            <a:avLst>
              <a:gd name="adj" fmla="val 7355"/>
            </a:avLst>
          </a:prstGeom>
          <a:blipFill>
            <a:blip r:embed="rId7"/>
            <a:srcRect/>
            <a:stretch>
              <a:fillRect l="-3764" t="-16941" r="-3764" b="1694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17184793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B3B6B-3394-0DDE-85D2-7F89E7DF1B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2B305-D2E7-8433-D9A9-DD51D11E83DD}"/>
              </a:ext>
            </a:extLst>
          </p:cNvPr>
          <p:cNvSpPr>
            <a:spLocks noGrp="1"/>
          </p:cNvSpPr>
          <p:nvPr>
            <p:ph type="title"/>
          </p:nvPr>
        </p:nvSpPr>
        <p:spPr>
          <a:xfrm>
            <a:off x="1226989" y="377826"/>
            <a:ext cx="7455051" cy="660092"/>
          </a:xfrm>
        </p:spPr>
        <p:txBody>
          <a:bodyPr anchor="ctr"/>
          <a:lstStyle/>
          <a:p>
            <a:r>
              <a:t>Texte :</a:t>
            </a:r>
          </a:p>
          <a:p>
            <a:r>
              <a:t>Faire évoluer notre modèle opérationnel NBU</a:t>
            </a:r>
          </a:p>
        </p:txBody>
      </p:sp>
      <p:sp>
        <p:nvSpPr>
          <p:cNvPr id="39" name="!!OVAL_network">
            <a:extLst>
              <a:ext uri="{FF2B5EF4-FFF2-40B4-BE49-F238E27FC236}">
                <a16:creationId xmlns:a16="http://schemas.microsoft.com/office/drawing/2014/main" id="{9A456FA2-4014-6F11-CD69-A1AFC210A5E6}"/>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ICON_brands">
            <a:extLst>
              <a:ext uri="{FF2B5EF4-FFF2-40B4-BE49-F238E27FC236}">
                <a16:creationId xmlns:a16="http://schemas.microsoft.com/office/drawing/2014/main" id="{E643CEF8-F2CA-945D-98A7-DEEA030FA5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0817" y="573754"/>
            <a:ext cx="327115" cy="268235"/>
          </a:xfrm>
          <a:prstGeom prst="rect">
            <a:avLst/>
          </a:prstGeom>
        </p:spPr>
      </p:pic>
      <p:sp>
        <p:nvSpPr>
          <p:cNvPr id="3" name="Text Placeholder 4">
            <a:extLst>
              <a:ext uri="{FF2B5EF4-FFF2-40B4-BE49-F238E27FC236}">
                <a16:creationId xmlns:a16="http://schemas.microsoft.com/office/drawing/2014/main" id="{46F4B8DE-A686-318D-F4B9-1B4E2A52CED7}"/>
              </a:ext>
            </a:extLst>
          </p:cNvPr>
          <p:cNvSpPr txBox="1">
            <a:spLocks/>
          </p:cNvSpPr>
          <p:nvPr/>
        </p:nvSpPr>
        <p:spPr>
          <a:xfrm>
            <a:off x="2237008" y="1557451"/>
            <a:ext cx="4669983" cy="1296000"/>
          </a:xfrm>
          <a:prstGeom prst="roundRect">
            <a:avLst>
              <a:gd name="adj" fmla="val 9959"/>
            </a:avLst>
          </a:prstGeom>
          <a:solidFill>
            <a:schemeClr val="tx1"/>
          </a:solidFill>
          <a:effectLst>
            <a:outerShdw blurRad="508000" dist="38100" dir="5400000" algn="t" rotWithShape="0">
              <a:prstClr val="black">
                <a:alpha val="15000"/>
              </a:prstClr>
            </a:outerShdw>
          </a:effectLst>
        </p:spPr>
        <p:txBody>
          <a:bodyPr lIns="1116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Construisez à moindre coût avec qualité, en utilisant un modèle rationalisé, GOFIT(light)</a:t>
            </a:r>
          </a:p>
        </p:txBody>
      </p:sp>
      <p:sp>
        <p:nvSpPr>
          <p:cNvPr id="5" name="Text Placeholder 4">
            <a:extLst>
              <a:ext uri="{FF2B5EF4-FFF2-40B4-BE49-F238E27FC236}">
                <a16:creationId xmlns:a16="http://schemas.microsoft.com/office/drawing/2014/main" id="{689C3AA6-5BA2-DBCB-95C7-1CD728F03295}"/>
              </a:ext>
            </a:extLst>
          </p:cNvPr>
          <p:cNvSpPr txBox="1">
            <a:spLocks/>
          </p:cNvSpPr>
          <p:nvPr/>
        </p:nvSpPr>
        <p:spPr>
          <a:xfrm>
            <a:off x="2237009" y="3149184"/>
            <a:ext cx="4669982" cy="1296000"/>
          </a:xfrm>
          <a:prstGeom prst="roundRect">
            <a:avLst>
              <a:gd name="adj" fmla="val 11265"/>
            </a:avLst>
          </a:prstGeom>
          <a:solidFill>
            <a:schemeClr val="tx1"/>
          </a:solidFill>
          <a:effectLst>
            <a:outerShdw blurRad="508000" dist="38100" dir="5400000" algn="t" rotWithShape="0">
              <a:prstClr val="black">
                <a:alpha val="15000"/>
              </a:prstClr>
            </a:outerShdw>
          </a:effectLst>
        </p:spPr>
        <p:txBody>
          <a:bodyPr lIns="1116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Fournir des opérations et une maintenance sur toutes les empreintes de fibre, soutenues par un super NOC de nouvelle génération IA assurant un diagnostic et une intervention efficaces.</a:t>
            </a:r>
          </a:p>
        </p:txBody>
      </p:sp>
      <p:pic>
        <p:nvPicPr>
          <p:cNvPr id="7" name="Graphic 6">
            <a:extLst>
              <a:ext uri="{FF2B5EF4-FFF2-40B4-BE49-F238E27FC236}">
                <a16:creationId xmlns:a16="http://schemas.microsoft.com/office/drawing/2014/main" id="{83343E74-7FF0-FA99-B6C4-54037CA4B4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04256" y="1862123"/>
            <a:ext cx="666114" cy="666114"/>
          </a:xfrm>
          <a:prstGeom prst="rect">
            <a:avLst/>
          </a:prstGeom>
        </p:spPr>
      </p:pic>
      <p:pic>
        <p:nvPicPr>
          <p:cNvPr id="8" name="Graphic 7">
            <a:extLst>
              <a:ext uri="{FF2B5EF4-FFF2-40B4-BE49-F238E27FC236}">
                <a16:creationId xmlns:a16="http://schemas.microsoft.com/office/drawing/2014/main" id="{F95C3DA6-21F2-5573-19B9-B3DFF4F1B5E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504256" y="3437074"/>
            <a:ext cx="666114" cy="666114"/>
          </a:xfrm>
          <a:prstGeom prst="rect">
            <a:avLst/>
          </a:prstGeom>
        </p:spPr>
      </p:pic>
    </p:spTree>
    <p:extLst>
      <p:ext uri="{BB962C8B-B14F-4D97-AF65-F5344CB8AC3E}">
        <p14:creationId xmlns:p14="http://schemas.microsoft.com/office/powerpoint/2010/main" val="2739636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0B772-6D33-3915-68ED-134C780A5AA9}"/>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106593DE-26BC-1EE9-E60F-4F72D6D4F845}"/>
              </a:ext>
            </a:extLst>
          </p:cNvPr>
          <p:cNvSpPr/>
          <p:nvPr/>
        </p:nvSpPr>
        <p:spPr>
          <a:xfrm>
            <a:off x="460375" y="450850"/>
            <a:ext cx="8221665" cy="4244975"/>
          </a:xfrm>
          <a:prstGeom prst="roundRect">
            <a:avLst>
              <a:gd name="adj" fmla="val 2317"/>
            </a:avLst>
          </a:prstGeom>
          <a:gradFill flip="none" rotWithShape="1">
            <a:gsLst>
              <a:gs pos="0">
                <a:schemeClr val="bg1"/>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9FBB1234-3B39-A6E3-986F-EC5124FE280F}"/>
              </a:ext>
            </a:extLst>
          </p:cNvPr>
          <p:cNvSpPr>
            <a:spLocks noGrp="1"/>
          </p:cNvSpPr>
          <p:nvPr>
            <p:ph type="title"/>
          </p:nvPr>
        </p:nvSpPr>
        <p:spPr>
          <a:xfrm>
            <a:off x="4073706" y="1592655"/>
            <a:ext cx="3382896" cy="377904"/>
          </a:xfrm>
        </p:spPr>
        <p:txBody>
          <a:bodyPr/>
          <a:lstStyle/>
          <a:p>
            <a:r>
              <a:t>Texte :</a:t>
            </a:r>
          </a:p>
          <a:p>
            <a:r>
              <a:t>Qu'est-ce que GO fit light ?</a:t>
            </a:r>
          </a:p>
        </p:txBody>
      </p:sp>
      <p:sp>
        <p:nvSpPr>
          <p:cNvPr id="4" name="Title 1">
            <a:extLst>
              <a:ext uri="{FF2B5EF4-FFF2-40B4-BE49-F238E27FC236}">
                <a16:creationId xmlns:a16="http://schemas.microsoft.com/office/drawing/2014/main" id="{35B40570-CB45-88A5-EA6B-F5A06B07CAF7}"/>
              </a:ext>
            </a:extLst>
          </p:cNvPr>
          <p:cNvSpPr txBox="1">
            <a:spLocks/>
          </p:cNvSpPr>
          <p:nvPr/>
        </p:nvSpPr>
        <p:spPr>
          <a:xfrm>
            <a:off x="4073706" y="2183205"/>
            <a:ext cx="4400992"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Un nouveau programme de bien-être Proximus</a:t>
            </a:r>
          </a:p>
          <a:p>
            <a:r>
              <a:t>Une initiative NEO pour réduire les coûts de déploiement de la fibre</a:t>
            </a:r>
          </a:p>
          <a:p>
            <a:r>
              <a:t>Partenaires de désactivation du cuivre</a:t>
            </a:r>
          </a:p>
          <a:p>
            <a:r>
              <a:t>Un nouveau client CWS</a:t>
            </a:r>
          </a:p>
        </p:txBody>
      </p:sp>
      <p:grpSp>
        <p:nvGrpSpPr>
          <p:cNvPr id="11" name="Group 10">
            <a:extLst>
              <a:ext uri="{FF2B5EF4-FFF2-40B4-BE49-F238E27FC236}">
                <a16:creationId xmlns:a16="http://schemas.microsoft.com/office/drawing/2014/main" id="{788BEB02-6157-8C79-6EFF-54433760E00F}"/>
              </a:ext>
            </a:extLst>
          </p:cNvPr>
          <p:cNvGrpSpPr/>
          <p:nvPr/>
        </p:nvGrpSpPr>
        <p:grpSpPr>
          <a:xfrm>
            <a:off x="1034715" y="1330467"/>
            <a:ext cx="2376000" cy="2850482"/>
            <a:chOff x="1034715" y="1437623"/>
            <a:chExt cx="2376000" cy="2850482"/>
          </a:xfrm>
        </p:grpSpPr>
        <p:sp>
          <p:nvSpPr>
            <p:cNvPr id="12" name="Rounded Rectangle 11">
              <a:extLst>
                <a:ext uri="{FF2B5EF4-FFF2-40B4-BE49-F238E27FC236}">
                  <a16:creationId xmlns:a16="http://schemas.microsoft.com/office/drawing/2014/main" id="{9579BE91-DBA0-D77D-79E3-BC27569D1650}"/>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EE1B5C01-CBAA-6CF6-B33B-D643A04CBCB8}"/>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4BFF2E94-4DA1-F9E6-4C45-DDEEDA0D7117}"/>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CE8D56A7-83A3-149E-43B1-92334D4D665A}"/>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0C371CEB-705A-9371-1454-821BF1C3BDAA}"/>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0A9DACA7-8DCF-1F59-274D-47B5A9F674F1}"/>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4064380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AB020-E689-0166-C025-35CB57D947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080F42-011F-09CA-712A-790ABF09DE45}"/>
              </a:ext>
            </a:extLst>
          </p:cNvPr>
          <p:cNvSpPr>
            <a:spLocks noGrp="1"/>
          </p:cNvSpPr>
          <p:nvPr>
            <p:ph type="title"/>
          </p:nvPr>
        </p:nvSpPr>
        <p:spPr>
          <a:xfrm>
            <a:off x="1226989" y="377826"/>
            <a:ext cx="7455051" cy="660092"/>
          </a:xfrm>
        </p:spPr>
        <p:txBody>
          <a:bodyPr anchor="ctr"/>
          <a:lstStyle/>
          <a:p>
            <a:r>
              <a:t>Texte :</a:t>
            </a:r>
          </a:p>
          <a:p>
            <a:r>
              <a:t>Modèle opérationnel évalué en 2025</a:t>
            </a:r>
          </a:p>
        </p:txBody>
      </p:sp>
      <p:sp>
        <p:nvSpPr>
          <p:cNvPr id="39" name="!!OVAL_network">
            <a:extLst>
              <a:ext uri="{FF2B5EF4-FFF2-40B4-BE49-F238E27FC236}">
                <a16:creationId xmlns:a16="http://schemas.microsoft.com/office/drawing/2014/main" id="{2E17C891-646E-8869-E4D2-FBD8339E1ECC}"/>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ICON_brands">
            <a:extLst>
              <a:ext uri="{FF2B5EF4-FFF2-40B4-BE49-F238E27FC236}">
                <a16:creationId xmlns:a16="http://schemas.microsoft.com/office/drawing/2014/main" id="{D7DD89C1-C843-8548-06D8-D0CA8138ECC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0817" y="573754"/>
            <a:ext cx="327115" cy="268235"/>
          </a:xfrm>
          <a:prstGeom prst="rect">
            <a:avLst/>
          </a:prstGeom>
        </p:spPr>
      </p:pic>
      <p:sp>
        <p:nvSpPr>
          <p:cNvPr id="3" name="Text Placeholder 4">
            <a:extLst>
              <a:ext uri="{FF2B5EF4-FFF2-40B4-BE49-F238E27FC236}">
                <a16:creationId xmlns:a16="http://schemas.microsoft.com/office/drawing/2014/main" id="{B13F8D3F-20DC-E44A-CBA4-89F2F343067A}"/>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a:t>
            </a:r>
          </a:p>
          <a:p>
            <a:r>
              <a:t>Définir le point de démarcation optimal entre CUO et NEO et le plan de mise en œuvre associé</a:t>
            </a:r>
          </a:p>
        </p:txBody>
      </p:sp>
      <p:sp>
        <p:nvSpPr>
          <p:cNvPr id="7" name="Text Placeholder 4">
            <a:extLst>
              <a:ext uri="{FF2B5EF4-FFF2-40B4-BE49-F238E27FC236}">
                <a16:creationId xmlns:a16="http://schemas.microsoft.com/office/drawing/2014/main" id="{0D121FBC-B5C0-B2B5-3F7B-4F27771E7FCF}"/>
              </a:ext>
            </a:extLst>
          </p:cNvPr>
          <p:cNvSpPr txBox="1">
            <a:spLocks/>
          </p:cNvSpPr>
          <p:nvPr/>
        </p:nvSpPr>
        <p:spPr>
          <a:xfrm>
            <a:off x="257391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Définir l'écosystème IT et les outils pour soutenir notre modèle, aligné avec notre nouvelle architecture de service multi-implantations et la gestion des SLA avec des contrats dos à dos.</a:t>
            </a:r>
          </a:p>
        </p:txBody>
      </p:sp>
      <p:sp>
        <p:nvSpPr>
          <p:cNvPr id="8" name="Text Placeholder 4">
            <a:extLst>
              <a:ext uri="{FF2B5EF4-FFF2-40B4-BE49-F238E27FC236}">
                <a16:creationId xmlns:a16="http://schemas.microsoft.com/office/drawing/2014/main" id="{C874E9FC-2C08-7110-380D-276E4F6819E6}"/>
              </a:ext>
            </a:extLst>
          </p:cNvPr>
          <p:cNvSpPr txBox="1">
            <a:spLocks/>
          </p:cNvSpPr>
          <p:nvPr/>
        </p:nvSpPr>
        <p:spPr>
          <a:xfrm>
            <a:off x="4812224" y="1393460"/>
            <a:ext cx="1884240" cy="1978390"/>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Devenir le partenaire privilégié de O&amp;M pour les coentreprises, en commençant par le PoC Unifiber</a:t>
            </a:r>
          </a:p>
        </p:txBody>
      </p:sp>
      <p:sp>
        <p:nvSpPr>
          <p:cNvPr id="10" name="Text Placeholder 4">
            <a:extLst>
              <a:ext uri="{FF2B5EF4-FFF2-40B4-BE49-F238E27FC236}">
                <a16:creationId xmlns:a16="http://schemas.microsoft.com/office/drawing/2014/main" id="{490C13C2-7AAD-AAD8-8F7C-07A887258310}"/>
              </a:ext>
            </a:extLst>
          </p:cNvPr>
          <p:cNvSpPr txBox="1">
            <a:spLocks/>
          </p:cNvSpPr>
          <p:nvPr/>
        </p:nvSpPr>
        <p:spPr>
          <a:xfrm>
            <a:off x="6925759"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4</a:t>
            </a:r>
          </a:p>
          <a:p>
            <a:r>
              <a:t>Recommandation du modèle "GOFIT light" pour les conducteurs dans le domaine de la construction en fibre et autres mondes civils</a:t>
            </a:r>
          </a:p>
        </p:txBody>
      </p:sp>
      <p:sp>
        <p:nvSpPr>
          <p:cNvPr id="5" name="Rounded Rectangle 4">
            <a:extLst>
              <a:ext uri="{FF2B5EF4-FFF2-40B4-BE49-F238E27FC236}">
                <a16:creationId xmlns:a16="http://schemas.microsoft.com/office/drawing/2014/main" id="{3122A961-3278-3B31-5069-E34C2C3E49A4}"/>
              </a:ext>
            </a:extLst>
          </p:cNvPr>
          <p:cNvSpPr/>
          <p:nvPr/>
        </p:nvSpPr>
        <p:spPr>
          <a:xfrm>
            <a:off x="4812224" y="3543300"/>
            <a:ext cx="1884240" cy="1850231"/>
          </a:xfrm>
          <a:prstGeom prst="roundRect">
            <a:avLst>
              <a:gd name="adj" fmla="val 10110"/>
            </a:avLst>
          </a:prstGeom>
          <a:blipFill>
            <a:blip r:embed="rId5"/>
            <a:srcRect/>
            <a:stretch>
              <a:fillRect l="-12749" r="-34569"/>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15634765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55EC2B09-5682-3226-023D-51F3D9505B5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936B7F1-D9CF-0E84-7B58-B8D88902DC46}"/>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NBU 4.0</a:t>
            </a:r>
          </a:p>
        </p:txBody>
      </p:sp>
      <p:sp>
        <p:nvSpPr>
          <p:cNvPr id="2" name="TextBox 1">
            <a:extLst>
              <a:ext uri="{FF2B5EF4-FFF2-40B4-BE49-F238E27FC236}">
                <a16:creationId xmlns:a16="http://schemas.microsoft.com/office/drawing/2014/main" id="{7A21E020-E1B5-0757-A76E-8B5F45CBAB34}"/>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16784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550D6-4904-87D9-C57C-EA5BFE578192}"/>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A22A8C46-9701-C6CA-1BFA-65845DF0AB4B}"/>
              </a:ext>
            </a:extLst>
          </p:cNvPr>
          <p:cNvSpPr/>
          <p:nvPr/>
        </p:nvSpPr>
        <p:spPr>
          <a:xfrm>
            <a:off x="458785" y="450850"/>
            <a:ext cx="8221665" cy="4244975"/>
          </a:xfrm>
          <a:prstGeom prst="roundRect">
            <a:avLst>
              <a:gd name="adj" fmla="val 2317"/>
            </a:avLst>
          </a:prstGeom>
          <a:gradFill flip="none" rotWithShape="1">
            <a:gsLst>
              <a:gs pos="0">
                <a:schemeClr val="bg1"/>
              </a:gs>
              <a:gs pos="99000">
                <a:schemeClr val="accent5"/>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F31820F7-2AE7-8477-2BF9-67C954E852F5}"/>
              </a:ext>
            </a:extLst>
          </p:cNvPr>
          <p:cNvSpPr>
            <a:spLocks noGrp="1"/>
          </p:cNvSpPr>
          <p:nvPr>
            <p:ph type="title"/>
          </p:nvPr>
        </p:nvSpPr>
        <p:spPr>
          <a:xfrm>
            <a:off x="829733" y="3807152"/>
            <a:ext cx="7484533" cy="747386"/>
          </a:xfrm>
        </p:spPr>
        <p:txBody>
          <a:bodyPr/>
          <a:lstStyle/>
          <a:p>
            <a:r>
              <a:t>Texte :</a:t>
            </a:r>
          </a:p>
          <a:p>
            <a:r>
              <a:t>Scannez le code QR Slido pour le quiz &amp; Q&amp;A</a:t>
            </a:r>
          </a:p>
        </p:txBody>
      </p:sp>
      <p:grpSp>
        <p:nvGrpSpPr>
          <p:cNvPr id="6" name="Group 5">
            <a:extLst>
              <a:ext uri="{FF2B5EF4-FFF2-40B4-BE49-F238E27FC236}">
                <a16:creationId xmlns:a16="http://schemas.microsoft.com/office/drawing/2014/main" id="{47C472F3-50B2-1F6E-5D98-9E98A636AA5A}"/>
              </a:ext>
            </a:extLst>
          </p:cNvPr>
          <p:cNvGrpSpPr/>
          <p:nvPr/>
        </p:nvGrpSpPr>
        <p:grpSpPr>
          <a:xfrm>
            <a:off x="3384000" y="941001"/>
            <a:ext cx="2376000" cy="2850482"/>
            <a:chOff x="1034715" y="1437623"/>
            <a:chExt cx="2376000" cy="2850482"/>
          </a:xfrm>
        </p:grpSpPr>
        <p:sp>
          <p:nvSpPr>
            <p:cNvPr id="8" name="Rounded Rectangle 7">
              <a:extLst>
                <a:ext uri="{FF2B5EF4-FFF2-40B4-BE49-F238E27FC236}">
                  <a16:creationId xmlns:a16="http://schemas.microsoft.com/office/drawing/2014/main" id="{8F969CB5-09F2-CD4D-17E8-ECFD8CEF1F1C}"/>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29D18AD5-D022-9CF3-4825-756CA160984C}"/>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E9AF62A8-FB42-4F6B-286D-78F3F2D0C8A6}"/>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8E9F145E-7139-9628-180B-69F388CF52EA}"/>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A23D7CBE-E6A4-5265-8749-C85DFA3E0070}"/>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057D170D-F167-D71E-C4B4-4DC3ADAACF97}"/>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7654358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C9A398D-E35B-8BCE-E238-588C99CB8EC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51E567B-A508-F4FA-A0DA-F8432EA810B4}"/>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Rebelle</a:t>
            </a:r>
          </a:p>
          <a:p>
            <a:r>
              <a:t>Rebelle</a:t>
            </a:r>
          </a:p>
        </p:txBody>
      </p:sp>
      <p:sp>
        <p:nvSpPr>
          <p:cNvPr id="2" name="TextBox 1">
            <a:extLst>
              <a:ext uri="{FF2B5EF4-FFF2-40B4-BE49-F238E27FC236}">
                <a16:creationId xmlns:a16="http://schemas.microsoft.com/office/drawing/2014/main" id="{9806F1BA-6F37-5335-6089-02359F5710F3}"/>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
        <p:nvSpPr>
          <p:cNvPr id="5" name="TextBox 4">
            <a:extLst>
              <a:ext uri="{FF2B5EF4-FFF2-40B4-BE49-F238E27FC236}">
                <a16:creationId xmlns:a16="http://schemas.microsoft.com/office/drawing/2014/main" id="{9DDF5B02-B2E7-9EC7-DDA7-DF6445756D6A}"/>
              </a:ext>
            </a:extLst>
          </p:cNvPr>
          <p:cNvSpPr txBox="1"/>
          <p:nvPr/>
        </p:nvSpPr>
        <p:spPr>
          <a:xfrm>
            <a:off x="2286000" y="4287145"/>
            <a:ext cx="4572000" cy="369332"/>
          </a:xfrm>
          <a:prstGeom prst="rect">
            <a:avLst/>
          </a:prstGeom>
          <a:noFill/>
        </p:spPr>
        <p:txBody>
          <a:bodyPr wrap="square">
            <a:spAutoFit/>
          </a:bodyPr>
          <a:lstStyle/>
          <a:p>
            <a:r>
              <a:t>Texte :</a:t>
            </a:r>
          </a:p>
          <a:p>
            <a:r>
              <a:t>par Geert Van Mol</a:t>
            </a:r>
          </a:p>
        </p:txBody>
      </p:sp>
    </p:spTree>
    <p:extLst>
      <p:ext uri="{BB962C8B-B14F-4D97-AF65-F5344CB8AC3E}">
        <p14:creationId xmlns:p14="http://schemas.microsoft.com/office/powerpoint/2010/main" val="54906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EC71C414-EE2B-A71B-FC88-2F3C15333F6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0162688-06F0-D45D-D38E-A691B9D6BA35}"/>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NBU 4.0</a:t>
            </a:r>
          </a:p>
        </p:txBody>
      </p:sp>
      <p:sp>
        <p:nvSpPr>
          <p:cNvPr id="2" name="TextBox 1">
            <a:extLst>
              <a:ext uri="{FF2B5EF4-FFF2-40B4-BE49-F238E27FC236}">
                <a16:creationId xmlns:a16="http://schemas.microsoft.com/office/drawing/2014/main" id="{14F27E9E-6AB5-ACB6-BF1B-D1112B9C677B}"/>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35755398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FF7AA8AC-03E1-A967-8EC4-DD9A9FD5121B}"/>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8085D8E2-F09C-7080-1D0F-47F3E0684D0F}"/>
              </a:ext>
            </a:extLst>
          </p:cNvPr>
          <p:cNvSpPr>
            <a:spLocks noGrp="1"/>
          </p:cNvSpPr>
          <p:nvPr>
            <p:ph type="body" sz="quarter" idx="13"/>
          </p:nvPr>
        </p:nvSpPr>
        <p:spPr>
          <a:xfrm>
            <a:off x="460369" y="923131"/>
            <a:ext cx="1908000" cy="3297238"/>
          </a:xfrm>
          <a:solidFill>
            <a:schemeClr val="tx1"/>
          </a:solidFill>
        </p:spPr>
        <p:txBody>
          <a:bodyPr tIns="1494000"/>
          <a:lstStyle/>
          <a:p>
            <a:r>
              <a:t>Texte :</a:t>
            </a:r>
          </a:p>
          <a:p>
            <a:r>
              <a:t>Expériences audacieuses</a:t>
            </a:r>
          </a:p>
        </p:txBody>
      </p:sp>
      <p:sp>
        <p:nvSpPr>
          <p:cNvPr id="5" name="!!box3">
            <a:extLst>
              <a:ext uri="{FF2B5EF4-FFF2-40B4-BE49-F238E27FC236}">
                <a16:creationId xmlns:a16="http://schemas.microsoft.com/office/drawing/2014/main" id="{16193767-1BD4-DA75-CE06-7BD1D09A6CC7}"/>
              </a:ext>
            </a:extLst>
          </p:cNvPr>
          <p:cNvSpPr>
            <a:spLocks noGrp="1"/>
          </p:cNvSpPr>
          <p:nvPr>
            <p:ph type="body" sz="quarter" idx="15"/>
          </p:nvPr>
        </p:nvSpPr>
        <p:spPr>
          <a:xfrm>
            <a:off x="4668423" y="923131"/>
            <a:ext cx="1908000" cy="3297238"/>
          </a:xfrm>
          <a:gradFill>
            <a:gsLst>
              <a:gs pos="0">
                <a:schemeClr val="bg1"/>
              </a:gs>
              <a:gs pos="100000">
                <a:schemeClr val="accent4"/>
              </a:gs>
            </a:gsLst>
            <a:lin ang="4200000" scaled="0"/>
          </a:gradFill>
        </p:spPr>
        <p:txBody>
          <a:bodyPr tIns="1494000"/>
          <a:lstStyle/>
          <a:p>
            <a:r>
              <a:t>Texte :</a:t>
            </a:r>
          </a:p>
          <a:p>
            <a:r>
              <a:t>Audace et pérennité</a:t>
            </a:r>
          </a:p>
        </p:txBody>
      </p:sp>
      <p:sp>
        <p:nvSpPr>
          <p:cNvPr id="7" name="!!box5">
            <a:extLst>
              <a:ext uri="{FF2B5EF4-FFF2-40B4-BE49-F238E27FC236}">
                <a16:creationId xmlns:a16="http://schemas.microsoft.com/office/drawing/2014/main" id="{6D8954F0-8B5C-6171-4D84-F8AA48B2AA86}"/>
              </a:ext>
            </a:extLst>
          </p:cNvPr>
          <p:cNvSpPr>
            <a:spLocks noGrp="1"/>
          </p:cNvSpPr>
          <p:nvPr>
            <p:ph type="body" sz="quarter" idx="17"/>
          </p:nvPr>
        </p:nvSpPr>
        <p:spPr>
          <a:xfrm>
            <a:off x="6772450" y="923131"/>
            <a:ext cx="1908000" cy="3297238"/>
          </a:xfrm>
          <a:solidFill>
            <a:schemeClr val="tx1"/>
          </a:solidFill>
        </p:spPr>
        <p:txBody>
          <a:bodyPr tIns="1494000"/>
          <a:lstStyle/>
          <a:p>
            <a:r>
              <a:t>Texte :</a:t>
            </a:r>
          </a:p>
          <a:p>
            <a:r>
              <a:t>Des gens **audacieux**</a:t>
            </a:r>
          </a:p>
        </p:txBody>
      </p:sp>
      <p:grpSp>
        <p:nvGrpSpPr>
          <p:cNvPr id="63" name="Group 62">
            <a:extLst>
              <a:ext uri="{FF2B5EF4-FFF2-40B4-BE49-F238E27FC236}">
                <a16:creationId xmlns:a16="http://schemas.microsoft.com/office/drawing/2014/main" id="{AE2A9867-0893-6D8E-C310-48A3DD9C7994}"/>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F6AA8ADE-C41B-64E4-A86D-899FDA3D6E03}"/>
                </a:ext>
              </a:extLst>
            </p:cNvPr>
            <p:cNvSpPr>
              <a:spLocks noChangeAspect="1"/>
            </p:cNvSpPr>
            <p:nvPr/>
          </p:nvSpPr>
          <p:spPr>
            <a:xfrm>
              <a:off x="869838" y="1363153"/>
              <a:ext cx="648000" cy="648000"/>
            </a:xfrm>
            <a:prstGeom prst="ellipse">
              <a:avLst/>
            </a:prstGeom>
            <a:gradFill flip="none" rotWithShape="1">
              <a:gsLst>
                <a:gs pos="0">
                  <a:schemeClr val="bg1"/>
                </a:gs>
                <a:gs pos="98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AF9FC253-F11A-4B08-55FD-DC0AAEB26BAF}"/>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46370A75-8B5D-E143-9E3F-7F77C9DD6050}"/>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A4571D0A-FBDF-2199-C7A4-CAEEA2400FD9}"/>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sp>
        <p:nvSpPr>
          <p:cNvPr id="50" name="!!OVAL_technology">
            <a:extLst>
              <a:ext uri="{FF2B5EF4-FFF2-40B4-BE49-F238E27FC236}">
                <a16:creationId xmlns:a16="http://schemas.microsoft.com/office/drawing/2014/main" id="{E3FE2299-9A35-E0FE-97AF-68F3F037D6E4}"/>
              </a:ext>
            </a:extLst>
          </p:cNvPr>
          <p:cNvSpPr>
            <a:spLocks noChangeAspect="1"/>
          </p:cNvSpPr>
          <p:nvPr/>
        </p:nvSpPr>
        <p:spPr>
          <a:xfrm>
            <a:off x="5298423" y="1390436"/>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8" name="Group 67">
            <a:extLst>
              <a:ext uri="{FF2B5EF4-FFF2-40B4-BE49-F238E27FC236}">
                <a16:creationId xmlns:a16="http://schemas.microsoft.com/office/drawing/2014/main" id="{7D764E24-721E-5737-0D87-C2D69B9438B2}"/>
              </a:ext>
            </a:extLst>
          </p:cNvPr>
          <p:cNvGrpSpPr/>
          <p:nvPr/>
        </p:nvGrpSpPr>
        <p:grpSpPr>
          <a:xfrm>
            <a:off x="7402450" y="1390436"/>
            <a:ext cx="648000" cy="648000"/>
            <a:chOff x="8824393" y="1279878"/>
            <a:chExt cx="648000" cy="648000"/>
          </a:xfrm>
        </p:grpSpPr>
        <p:sp>
          <p:nvSpPr>
            <p:cNvPr id="53" name="!!OVAL_technology">
              <a:extLst>
                <a:ext uri="{FF2B5EF4-FFF2-40B4-BE49-F238E27FC236}">
                  <a16:creationId xmlns:a16="http://schemas.microsoft.com/office/drawing/2014/main" id="{9252368A-FBC6-3882-3F22-66FBA9A431B2}"/>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DC0665EA-3F31-5043-9B56-3BEB57BD372E}"/>
                </a:ext>
              </a:extLst>
            </p:cNvPr>
            <p:cNvGrpSpPr/>
            <p:nvPr/>
          </p:nvGrpSpPr>
          <p:grpSpPr>
            <a:xfrm>
              <a:off x="8967408" y="1422903"/>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DD89A40B-4924-3AD8-F18A-475E12FF77DD}"/>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D6847EB4-1BA9-F43E-15B5-EF1E3859EA5E}"/>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39D0630D-DF47-865F-68B6-6973D24AE26C}"/>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grpSp>
        <p:nvGrpSpPr>
          <p:cNvPr id="24" name="Group 23">
            <a:extLst>
              <a:ext uri="{FF2B5EF4-FFF2-40B4-BE49-F238E27FC236}">
                <a16:creationId xmlns:a16="http://schemas.microsoft.com/office/drawing/2014/main" id="{BFF4FFA6-CB06-6C71-6AA1-A1F7FFF3B217}"/>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062CB79F-A3F5-0127-1A6E-F5412B504EBB}"/>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02A95201-CDF9-CE8F-3A30-FEEC9C327114}"/>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0DB75961-A453-CC74-C70B-C62C99D5E311}"/>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E84910FD-0021-2F10-1F0D-138DFDC7268F}"/>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589E1A96-CDD3-465B-4DD8-10FB815B6DB6}"/>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
        <p:nvSpPr>
          <p:cNvPr id="8" name="!!box2">
            <a:extLst>
              <a:ext uri="{FF2B5EF4-FFF2-40B4-BE49-F238E27FC236}">
                <a16:creationId xmlns:a16="http://schemas.microsoft.com/office/drawing/2014/main" id="{C379F0D9-1230-84EF-8912-16387FF4B0B6}"/>
              </a:ext>
            </a:extLst>
          </p:cNvPr>
          <p:cNvSpPr>
            <a:spLocks noGrp="1"/>
          </p:cNvSpPr>
          <p:nvPr>
            <p:ph type="body" sz="quarter" idx="14"/>
          </p:nvPr>
        </p:nvSpPr>
        <p:spPr>
          <a:xfrm>
            <a:off x="2562393" y="923131"/>
            <a:ext cx="1908000" cy="3297238"/>
          </a:xfrm>
          <a:solidFill>
            <a:schemeClr val="tx1"/>
          </a:solidFill>
        </p:spPr>
        <p:txBody>
          <a:bodyPr tIns="1494000"/>
          <a:lstStyle/>
          <a:p>
            <a:r>
              <a:t>Texte :</a:t>
            </a:r>
          </a:p>
          <a:p>
            <a:r>
              <a:t>Efficacité audacieuse</a:t>
            </a:r>
          </a:p>
        </p:txBody>
      </p:sp>
      <p:grpSp>
        <p:nvGrpSpPr>
          <p:cNvPr id="9" name="Group 8">
            <a:extLst>
              <a:ext uri="{FF2B5EF4-FFF2-40B4-BE49-F238E27FC236}">
                <a16:creationId xmlns:a16="http://schemas.microsoft.com/office/drawing/2014/main" id="{4EB204FD-2B0D-72F5-A0F5-A5878F464961}"/>
              </a:ext>
            </a:extLst>
          </p:cNvPr>
          <p:cNvGrpSpPr/>
          <p:nvPr/>
        </p:nvGrpSpPr>
        <p:grpSpPr>
          <a:xfrm>
            <a:off x="3192393" y="1390436"/>
            <a:ext cx="648000" cy="648000"/>
            <a:chOff x="2559633" y="1384953"/>
            <a:chExt cx="648000" cy="648000"/>
          </a:xfrm>
        </p:grpSpPr>
        <p:sp>
          <p:nvSpPr>
            <p:cNvPr id="10" name="!!OVAL_brands">
              <a:extLst>
                <a:ext uri="{FF2B5EF4-FFF2-40B4-BE49-F238E27FC236}">
                  <a16:creationId xmlns:a16="http://schemas.microsoft.com/office/drawing/2014/main" id="{38BBF6D4-B3E5-C647-CA0D-087EF3C8D4A1}"/>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12" name="Graphic 11">
              <a:extLst>
                <a:ext uri="{FF2B5EF4-FFF2-40B4-BE49-F238E27FC236}">
                  <a16:creationId xmlns:a16="http://schemas.microsoft.com/office/drawing/2014/main" id="{A8260F5F-369D-67BC-36F5-8861A306B1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Tree>
    <p:extLst>
      <p:ext uri="{BB962C8B-B14F-4D97-AF65-F5344CB8AC3E}">
        <p14:creationId xmlns:p14="http://schemas.microsoft.com/office/powerpoint/2010/main" val="27976508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9F141068-9AF4-0FC2-244B-1E520A1F52B7}"/>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38D9C1F5-D1EE-390E-B171-41D7C5743BA5}"/>
              </a:ext>
            </a:extLst>
          </p:cNvPr>
          <p:cNvSpPr>
            <a:spLocks noGrp="1"/>
          </p:cNvSpPr>
          <p:nvPr>
            <p:ph type="body" sz="quarter" idx="4294967295"/>
          </p:nvPr>
        </p:nvSpPr>
        <p:spPr>
          <a:xfrm>
            <a:off x="2564930" y="1408113"/>
            <a:ext cx="1908000" cy="2774950"/>
          </a:xfrm>
          <a:prstGeom prst="roundRect">
            <a:avLst>
              <a:gd name="adj" fmla="val 9984"/>
            </a:avLst>
          </a:prstGeom>
          <a:solidFill>
            <a:schemeClr val="bg1"/>
          </a:solidFill>
        </p:spPr>
        <p:txBody>
          <a:bodyPr tIns="576000" anchor="ctr"/>
          <a:lstStyle/>
          <a:p>
            <a:r>
              <a:t>Texte :</a:t>
            </a:r>
          </a:p>
          <a:p>
            <a:r>
              <a:t>Plateformes</a:t>
            </a:r>
          </a:p>
        </p:txBody>
      </p:sp>
      <p:sp>
        <p:nvSpPr>
          <p:cNvPr id="10" name="Text Placeholder 7">
            <a:extLst>
              <a:ext uri="{FF2B5EF4-FFF2-40B4-BE49-F238E27FC236}">
                <a16:creationId xmlns:a16="http://schemas.microsoft.com/office/drawing/2014/main" id="{905CFE22-0351-F691-8DDD-892A16A825F8}"/>
              </a:ext>
            </a:extLst>
          </p:cNvPr>
          <p:cNvSpPr txBox="1">
            <a:spLocks/>
          </p:cNvSpPr>
          <p:nvPr/>
        </p:nvSpPr>
        <p:spPr>
          <a:xfrm>
            <a:off x="4669485" y="1408113"/>
            <a:ext cx="1908000" cy="2774950"/>
          </a:xfrm>
          <a:prstGeom prst="roundRect">
            <a:avLst>
              <a:gd name="adj" fmla="val 9984"/>
            </a:avLst>
          </a:prstGeom>
          <a:solidFill>
            <a:schemeClr val="bg1"/>
          </a:soli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Monétisation des actifs de télécommunication</a:t>
            </a:r>
          </a:p>
        </p:txBody>
      </p:sp>
      <p:sp>
        <p:nvSpPr>
          <p:cNvPr id="2" name="Title 1">
            <a:extLst>
              <a:ext uri="{FF2B5EF4-FFF2-40B4-BE49-F238E27FC236}">
                <a16:creationId xmlns:a16="http://schemas.microsoft.com/office/drawing/2014/main" id="{F949DE53-8DF7-AD6D-4E80-969429A08192}"/>
              </a:ext>
            </a:extLst>
          </p:cNvPr>
          <p:cNvSpPr>
            <a:spLocks noGrp="1"/>
          </p:cNvSpPr>
          <p:nvPr>
            <p:ph type="title"/>
          </p:nvPr>
        </p:nvSpPr>
        <p:spPr>
          <a:xfrm>
            <a:off x="1252548" y="377826"/>
            <a:ext cx="7429492" cy="660092"/>
          </a:xfrm>
        </p:spPr>
        <p:txBody>
          <a:bodyPr anchor="ctr"/>
          <a:lstStyle/>
          <a:p>
            <a:r>
              <a:t>Texte :</a:t>
            </a:r>
          </a:p>
          <a:p>
            <a:r>
              <a:t>Audace à l'épreuve du futur</a:t>
            </a:r>
          </a:p>
        </p:txBody>
      </p:sp>
      <p:sp>
        <p:nvSpPr>
          <p:cNvPr id="3" name="Text Placeholder 2">
            <a:extLst>
              <a:ext uri="{FF2B5EF4-FFF2-40B4-BE49-F238E27FC236}">
                <a16:creationId xmlns:a16="http://schemas.microsoft.com/office/drawing/2014/main" id="{ED304D85-43F9-053D-F6BB-B02CE032D4BD}"/>
              </a:ext>
            </a:extLst>
          </p:cNvPr>
          <p:cNvSpPr>
            <a:spLocks noGrp="1"/>
          </p:cNvSpPr>
          <p:nvPr>
            <p:ph type="body" sz="quarter" idx="4294967295"/>
          </p:nvPr>
        </p:nvSpPr>
        <p:spPr>
          <a:xfrm>
            <a:off x="460375" y="1408113"/>
            <a:ext cx="1908000" cy="2774950"/>
          </a:xfrm>
          <a:prstGeom prst="roundRect">
            <a:avLst>
              <a:gd name="adj" fmla="val 9984"/>
            </a:avLst>
          </a:prstGeom>
          <a:gradFill flip="none" rotWithShape="1">
            <a:gsLst>
              <a:gs pos="0">
                <a:schemeClr val="bg1"/>
              </a:gs>
              <a:gs pos="100000">
                <a:schemeClr val="accent4"/>
              </a:gs>
            </a:gsLst>
            <a:lin ang="10800000" scaled="1"/>
            <a:tileRect/>
          </a:gradFill>
        </p:spPr>
        <p:txBody>
          <a:bodyPr tIns="576000" anchor="ctr"/>
          <a:lstStyle/>
          <a:p>
            <a:r>
              <a:t>Texte :</a:t>
            </a:r>
          </a:p>
          <a:p>
            <a:r>
              <a:t>Réseau</a:t>
            </a:r>
          </a:p>
          <a:p>
            <a:r>
              <a:t>fondations</a:t>
            </a:r>
          </a:p>
        </p:txBody>
      </p:sp>
      <p:sp>
        <p:nvSpPr>
          <p:cNvPr id="4" name="Text Placeholder 3">
            <a:extLst>
              <a:ext uri="{FF2B5EF4-FFF2-40B4-BE49-F238E27FC236}">
                <a16:creationId xmlns:a16="http://schemas.microsoft.com/office/drawing/2014/main" id="{4D95ECDF-1972-AA0D-1392-A9F789EBBF9C}"/>
              </a:ext>
            </a:extLst>
          </p:cNvPr>
          <p:cNvSpPr>
            <a:spLocks noGrp="1"/>
          </p:cNvSpPr>
          <p:nvPr>
            <p:ph type="body" sz="quarter" idx="4294967295"/>
          </p:nvPr>
        </p:nvSpPr>
        <p:spPr>
          <a:xfrm>
            <a:off x="6774040" y="1408113"/>
            <a:ext cx="1908000" cy="2774950"/>
          </a:xfrm>
          <a:prstGeom prst="roundRect">
            <a:avLst>
              <a:gd name="adj" fmla="val 9984"/>
            </a:avLst>
          </a:prstGeom>
          <a:gradFill flip="none" rotWithShape="1">
            <a:gsLst>
              <a:gs pos="0">
                <a:schemeClr val="bg1"/>
              </a:gs>
              <a:gs pos="100000">
                <a:schemeClr val="accent4"/>
              </a:gs>
            </a:gsLst>
            <a:lin ang="0" scaled="1"/>
            <a:tileRect/>
          </a:gradFill>
        </p:spPr>
        <p:txBody>
          <a:bodyPr tIns="576000" anchor="ctr"/>
          <a:lstStyle/>
          <a:p>
            <a:r>
              <a:t>Texte :</a:t>
            </a:r>
          </a:p>
          <a:p>
            <a:r>
              <a:t>Durabilité</a:t>
            </a:r>
          </a:p>
        </p:txBody>
      </p:sp>
      <p:sp>
        <p:nvSpPr>
          <p:cNvPr id="6" name="!!OVAL_brands">
            <a:extLst>
              <a:ext uri="{FF2B5EF4-FFF2-40B4-BE49-F238E27FC236}">
                <a16:creationId xmlns:a16="http://schemas.microsoft.com/office/drawing/2014/main" id="{AF9FB2E5-6473-C246-41A1-8645AF84CE59}"/>
              </a:ext>
            </a:extLst>
          </p:cNvPr>
          <p:cNvSpPr>
            <a:spLocks noChangeAspect="1"/>
          </p:cNvSpPr>
          <p:nvPr/>
        </p:nvSpPr>
        <p:spPr>
          <a:xfrm>
            <a:off x="460375" y="389918"/>
            <a:ext cx="648000" cy="648000"/>
          </a:xfrm>
          <a:prstGeom prst="ellipse">
            <a:avLst/>
          </a:prstGeom>
          <a:gradFill flip="none" rotWithShape="1">
            <a:gsLst>
              <a:gs pos="0">
                <a:schemeClr val="bg1"/>
              </a:gs>
              <a:gs pos="100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13" name="Group 12">
            <a:extLst>
              <a:ext uri="{FF2B5EF4-FFF2-40B4-BE49-F238E27FC236}">
                <a16:creationId xmlns:a16="http://schemas.microsoft.com/office/drawing/2014/main" id="{74AFE4B8-C3A3-1D83-FA56-2A3CABCC780D}"/>
              </a:ext>
            </a:extLst>
          </p:cNvPr>
          <p:cNvGrpSpPr/>
          <p:nvPr/>
        </p:nvGrpSpPr>
        <p:grpSpPr>
          <a:xfrm>
            <a:off x="621677" y="544879"/>
            <a:ext cx="356745" cy="346886"/>
            <a:chOff x="4630102" y="215428"/>
            <a:chExt cx="356745" cy="346886"/>
          </a:xfrm>
          <a:solidFill>
            <a:srgbClr val="F3F4F9"/>
          </a:solidFill>
        </p:grpSpPr>
        <p:sp>
          <p:nvSpPr>
            <p:cNvPr id="14" name="Freeform 13">
              <a:extLst>
                <a:ext uri="{FF2B5EF4-FFF2-40B4-BE49-F238E27FC236}">
                  <a16:creationId xmlns:a16="http://schemas.microsoft.com/office/drawing/2014/main" id="{128AEB4C-5525-E2C2-A937-75B6E1F2BB96}"/>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15" name="Group 14">
              <a:extLst>
                <a:ext uri="{FF2B5EF4-FFF2-40B4-BE49-F238E27FC236}">
                  <a16:creationId xmlns:a16="http://schemas.microsoft.com/office/drawing/2014/main" id="{815A1206-6DB6-D566-0BE8-BCA449C47793}"/>
                </a:ext>
              </a:extLst>
            </p:cNvPr>
            <p:cNvGrpSpPr/>
            <p:nvPr/>
          </p:nvGrpSpPr>
          <p:grpSpPr>
            <a:xfrm flipH="1">
              <a:off x="4630102" y="215428"/>
              <a:ext cx="356745" cy="346886"/>
              <a:chOff x="4630102" y="215428"/>
              <a:chExt cx="356745" cy="346886"/>
            </a:xfrm>
            <a:grpFill/>
          </p:grpSpPr>
          <p:sp>
            <p:nvSpPr>
              <p:cNvPr id="16" name="Freeform 15">
                <a:extLst>
                  <a:ext uri="{FF2B5EF4-FFF2-40B4-BE49-F238E27FC236}">
                    <a16:creationId xmlns:a16="http://schemas.microsoft.com/office/drawing/2014/main" id="{70E907F7-E4CA-2E6B-239D-EF52AB89B9F6}"/>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8198BE2A-A078-33F1-C33C-43C00226C2C2}"/>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18" name="Freeform 17">
                <a:extLst>
                  <a:ext uri="{FF2B5EF4-FFF2-40B4-BE49-F238E27FC236}">
                    <a16:creationId xmlns:a16="http://schemas.microsoft.com/office/drawing/2014/main" id="{D532B64F-B7BA-7EAD-9F85-BFA9F02E6855}"/>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pic>
        <p:nvPicPr>
          <p:cNvPr id="5" name="Graphic 4">
            <a:extLst>
              <a:ext uri="{FF2B5EF4-FFF2-40B4-BE49-F238E27FC236}">
                <a16:creationId xmlns:a16="http://schemas.microsoft.com/office/drawing/2014/main" id="{154708BA-D0F6-750E-346E-A020A01696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3875" y="2123282"/>
            <a:ext cx="381000" cy="381000"/>
          </a:xfrm>
          <a:prstGeom prst="rect">
            <a:avLst/>
          </a:prstGeom>
        </p:spPr>
      </p:pic>
      <p:pic>
        <p:nvPicPr>
          <p:cNvPr id="7" name="Graphic 6">
            <a:extLst>
              <a:ext uri="{FF2B5EF4-FFF2-40B4-BE49-F238E27FC236}">
                <a16:creationId xmlns:a16="http://schemas.microsoft.com/office/drawing/2014/main" id="{4BF014CD-6C58-02B9-9CB7-E9705E7852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9380" y="2205832"/>
            <a:ext cx="419100" cy="215900"/>
          </a:xfrm>
          <a:prstGeom prst="rect">
            <a:avLst/>
          </a:prstGeom>
        </p:spPr>
      </p:pic>
      <p:pic>
        <p:nvPicPr>
          <p:cNvPr id="12" name="Graphic 11">
            <a:extLst>
              <a:ext uri="{FF2B5EF4-FFF2-40B4-BE49-F238E27FC236}">
                <a16:creationId xmlns:a16="http://schemas.microsoft.com/office/drawing/2014/main" id="{DB1F6957-FE0D-431B-B884-841175D474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70497" y="2104232"/>
            <a:ext cx="381000" cy="419100"/>
          </a:xfrm>
          <a:prstGeom prst="rect">
            <a:avLst/>
          </a:prstGeom>
        </p:spPr>
      </p:pic>
      <p:pic>
        <p:nvPicPr>
          <p:cNvPr id="19" name="Graphic 18">
            <a:extLst>
              <a:ext uri="{FF2B5EF4-FFF2-40B4-BE49-F238E27FC236}">
                <a16:creationId xmlns:a16="http://schemas.microsoft.com/office/drawing/2014/main" id="{A76F1495-0A75-42E6-D645-0AFF2F157F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35305" y="2123282"/>
            <a:ext cx="381000" cy="381000"/>
          </a:xfrm>
          <a:prstGeom prst="rect">
            <a:avLst/>
          </a:prstGeom>
        </p:spPr>
      </p:pic>
    </p:spTree>
    <p:extLst>
      <p:ext uri="{BB962C8B-B14F-4D97-AF65-F5344CB8AC3E}">
        <p14:creationId xmlns:p14="http://schemas.microsoft.com/office/powerpoint/2010/main" val="2400760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8E1648D4-7137-8211-2118-3C51FFAE82A8}"/>
            </a:ext>
          </a:extLst>
        </p:cNvPr>
        <p:cNvGrpSpPr/>
        <p:nvPr/>
      </p:nvGrpSpPr>
      <p:grpSpPr>
        <a:xfrm>
          <a:off x="0" y="0"/>
          <a:ext cx="0" cy="0"/>
          <a:chOff x="0" y="0"/>
          <a:chExt cx="0" cy="0"/>
        </a:xfrm>
      </p:grpSpPr>
      <p:pic>
        <p:nvPicPr>
          <p:cNvPr id="14" name="Graphic 13">
            <a:extLst>
              <a:ext uri="{FF2B5EF4-FFF2-40B4-BE49-F238E27FC236}">
                <a16:creationId xmlns:a16="http://schemas.microsoft.com/office/drawing/2014/main" id="{E013A193-01B8-DC34-1DE9-3463060B6D2A}"/>
              </a:ext>
            </a:extLst>
          </p:cNvPr>
          <p:cNvPicPr>
            <a:picLocks noChangeAspect="1"/>
          </p:cNvPicPr>
          <p:nvPr/>
        </p:nvPicPr>
        <p:blipFill>
          <a:blip r:embed="rId3">
            <a:extLst>
              <a:ext uri="{96DAC541-7B7A-43D3-8B79-37D633B846F1}">
                <asvg:svgBlip xmlns:asvg="http://schemas.microsoft.com/office/drawing/2016/SVG/main" r:embed="rId4"/>
              </a:ext>
            </a:extLst>
          </a:blip>
          <a:srcRect l="988" r="988"/>
          <a:stretch/>
        </p:blipFill>
        <p:spPr>
          <a:xfrm>
            <a:off x="3012573" y="2958785"/>
            <a:ext cx="3129113" cy="2157861"/>
          </a:xfrm>
          <a:prstGeom prst="roundRect">
            <a:avLst>
              <a:gd name="adj" fmla="val 6088"/>
            </a:avLst>
          </a:prstGeom>
          <a:scene3d>
            <a:camera prst="perspectiveAbove" fov="4800000">
              <a:rot lat="18000000" lon="0" rev="0"/>
            </a:camera>
            <a:lightRig rig="threePt" dir="t"/>
          </a:scene3d>
          <a:sp3d prstMaterial="matte"/>
        </p:spPr>
      </p:pic>
      <p:sp>
        <p:nvSpPr>
          <p:cNvPr id="23" name="TextBox 22">
            <a:extLst>
              <a:ext uri="{FF2B5EF4-FFF2-40B4-BE49-F238E27FC236}">
                <a16:creationId xmlns:a16="http://schemas.microsoft.com/office/drawing/2014/main" id="{E5637255-AA9C-6BCF-EA70-0C2A6DA57A99}"/>
              </a:ext>
            </a:extLst>
          </p:cNvPr>
          <p:cNvSpPr txBox="1"/>
          <p:nvPr/>
        </p:nvSpPr>
        <p:spPr>
          <a:xfrm>
            <a:off x="7017540" y="1241850"/>
            <a:ext cx="1548000" cy="503999"/>
          </a:xfrm>
          <a:prstGeom prst="rect">
            <a:avLst/>
          </a:prstGeom>
          <a:noFill/>
        </p:spPr>
        <p:txBody>
          <a:bodyPr wrap="none" lIns="0" tIns="0" rIns="0" bIns="0" rtlCol="0" anchor="ctr">
            <a:noAutofit/>
          </a:bodyPr>
          <a:lstStyle/>
          <a:p>
            <a:r>
              <a:t>Texte :</a:t>
            </a:r>
          </a:p>
          <a:p>
            <a:r>
              <a:t>Passer à l'échelle</a:t>
            </a:r>
          </a:p>
        </p:txBody>
      </p:sp>
      <p:sp>
        <p:nvSpPr>
          <p:cNvPr id="2" name="Title 1">
            <a:extLst>
              <a:ext uri="{FF2B5EF4-FFF2-40B4-BE49-F238E27FC236}">
                <a16:creationId xmlns:a16="http://schemas.microsoft.com/office/drawing/2014/main" id="{C7909207-6E9F-713F-821E-5AF0DEC55937}"/>
              </a:ext>
            </a:extLst>
          </p:cNvPr>
          <p:cNvSpPr>
            <a:spLocks noGrp="1"/>
          </p:cNvSpPr>
          <p:nvPr>
            <p:ph type="title"/>
          </p:nvPr>
        </p:nvSpPr>
        <p:spPr>
          <a:xfrm>
            <a:off x="1226989" y="377826"/>
            <a:ext cx="7455051" cy="660092"/>
          </a:xfrm>
        </p:spPr>
        <p:txBody>
          <a:bodyPr anchor="ctr"/>
          <a:lstStyle/>
          <a:p>
            <a:r>
              <a:t>Texte :</a:t>
            </a:r>
          </a:p>
          <a:p>
            <a:r>
              <a:t>Fondations du réseau</a:t>
            </a:r>
          </a:p>
        </p:txBody>
      </p:sp>
      <p:sp>
        <p:nvSpPr>
          <p:cNvPr id="39" name="!!OVAL_network">
            <a:extLst>
              <a:ext uri="{FF2B5EF4-FFF2-40B4-BE49-F238E27FC236}">
                <a16:creationId xmlns:a16="http://schemas.microsoft.com/office/drawing/2014/main" id="{C60ECC56-62F2-AC78-64BF-2B68BDB4B04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pic>
        <p:nvPicPr>
          <p:cNvPr id="4" name="Graphic 3">
            <a:extLst>
              <a:ext uri="{FF2B5EF4-FFF2-40B4-BE49-F238E27FC236}">
                <a16:creationId xmlns:a16="http://schemas.microsoft.com/office/drawing/2014/main" id="{3CA64CF4-DCEE-7202-FB77-6E8D6D6506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6182" y="517372"/>
            <a:ext cx="381000" cy="381000"/>
          </a:xfrm>
          <a:prstGeom prst="rect">
            <a:avLst/>
          </a:prstGeom>
        </p:spPr>
      </p:pic>
      <p:pic>
        <p:nvPicPr>
          <p:cNvPr id="18" name="Graphic 17">
            <a:extLst>
              <a:ext uri="{FF2B5EF4-FFF2-40B4-BE49-F238E27FC236}">
                <a16:creationId xmlns:a16="http://schemas.microsoft.com/office/drawing/2014/main" id="{FC4F758E-96CA-72A0-CB5B-723F4B8689C2}"/>
              </a:ext>
            </a:extLst>
          </p:cNvPr>
          <p:cNvPicPr>
            <a:picLocks noChangeAspect="1"/>
          </p:cNvPicPr>
          <p:nvPr/>
        </p:nvPicPr>
        <p:blipFill>
          <a:blip r:embed="rId7">
            <a:extLst>
              <a:ext uri="{96DAC541-7B7A-43D3-8B79-37D633B846F1}">
                <asvg:svgBlip xmlns:asvg="http://schemas.microsoft.com/office/drawing/2016/SVG/main" r:embed="rId8"/>
              </a:ext>
            </a:extLst>
          </a:blip>
          <a:srcRect l="988" r="988"/>
          <a:stretch/>
        </p:blipFill>
        <p:spPr>
          <a:xfrm>
            <a:off x="3012573" y="2068455"/>
            <a:ext cx="3129113" cy="2157861"/>
          </a:xfrm>
          <a:prstGeom prst="roundRect">
            <a:avLst>
              <a:gd name="adj" fmla="val 6088"/>
            </a:avLst>
          </a:prstGeom>
          <a:scene3d>
            <a:camera prst="perspectiveAbove" fov="5400000">
              <a:rot lat="18000000" lon="0" rev="0"/>
            </a:camera>
            <a:lightRig rig="threePt" dir="t"/>
          </a:scene3d>
          <a:sp3d prstMaterial="matte"/>
        </p:spPr>
      </p:pic>
      <p:pic>
        <p:nvPicPr>
          <p:cNvPr id="21" name="Graphic 20">
            <a:extLst>
              <a:ext uri="{FF2B5EF4-FFF2-40B4-BE49-F238E27FC236}">
                <a16:creationId xmlns:a16="http://schemas.microsoft.com/office/drawing/2014/main" id="{19F33846-B8B2-6C4F-3160-452FB28A7CD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81026" y="1152725"/>
            <a:ext cx="3192207" cy="2157860"/>
          </a:xfrm>
          <a:prstGeom prst="rect">
            <a:avLst/>
          </a:prstGeom>
          <a:scene3d>
            <a:camera prst="perspectiveAbove" fov="6000000">
              <a:rot lat="17700000" lon="0" rev="0"/>
            </a:camera>
            <a:lightRig rig="threePt" dir="t"/>
          </a:scene3d>
          <a:sp3d prstMaterial="matte"/>
        </p:spPr>
      </p:pic>
      <p:pic>
        <p:nvPicPr>
          <p:cNvPr id="22" name="Graphic 21">
            <a:extLst>
              <a:ext uri="{FF2B5EF4-FFF2-40B4-BE49-F238E27FC236}">
                <a16:creationId xmlns:a16="http://schemas.microsoft.com/office/drawing/2014/main" id="{C81429A3-A2CF-F555-F976-9D1CCA4E668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81026" y="360246"/>
            <a:ext cx="3192207" cy="2157860"/>
          </a:xfrm>
          <a:prstGeom prst="rect">
            <a:avLst/>
          </a:prstGeom>
          <a:scene3d>
            <a:camera prst="perspectiveAbove" fov="6600000">
              <a:rot lat="17700000" lon="0" rev="0"/>
            </a:camera>
            <a:lightRig rig="threePt" dir="t"/>
          </a:scene3d>
          <a:sp3d prstMaterial="matte"/>
        </p:spPr>
      </p:pic>
      <p:sp>
        <p:nvSpPr>
          <p:cNvPr id="24" name="TextBox 23">
            <a:extLst>
              <a:ext uri="{FF2B5EF4-FFF2-40B4-BE49-F238E27FC236}">
                <a16:creationId xmlns:a16="http://schemas.microsoft.com/office/drawing/2014/main" id="{ACBABD6E-9C72-93CF-29F3-ACE9C0D3F157}"/>
              </a:ext>
            </a:extLst>
          </p:cNvPr>
          <p:cNvSpPr txBox="1"/>
          <p:nvPr/>
        </p:nvSpPr>
        <p:spPr>
          <a:xfrm>
            <a:off x="837010" y="1241850"/>
            <a:ext cx="1548000" cy="503999"/>
          </a:xfrm>
          <a:prstGeom prst="rect">
            <a:avLst/>
          </a:prstGeom>
          <a:noFill/>
        </p:spPr>
        <p:txBody>
          <a:bodyPr wrap="none" lIns="0" tIns="0" rIns="0" bIns="0" rtlCol="0" anchor="ctr">
            <a:noAutofit/>
          </a:bodyPr>
          <a:lstStyle/>
          <a:p>
            <a:r>
              <a:t>Texte :</a:t>
            </a:r>
          </a:p>
          <a:p>
            <a:r>
              <a:t>Dosseret IP Titan</a:t>
            </a:r>
          </a:p>
        </p:txBody>
      </p:sp>
      <p:sp>
        <p:nvSpPr>
          <p:cNvPr id="25" name="TextBox 24">
            <a:extLst>
              <a:ext uri="{FF2B5EF4-FFF2-40B4-BE49-F238E27FC236}">
                <a16:creationId xmlns:a16="http://schemas.microsoft.com/office/drawing/2014/main" id="{9962086A-47FE-CF90-2A89-DD123F00B6E7}"/>
              </a:ext>
            </a:extLst>
          </p:cNvPr>
          <p:cNvSpPr txBox="1"/>
          <p:nvPr/>
        </p:nvSpPr>
        <p:spPr>
          <a:xfrm>
            <a:off x="837010" y="2120515"/>
            <a:ext cx="1548000" cy="503999"/>
          </a:xfrm>
          <a:prstGeom prst="rect">
            <a:avLst/>
          </a:prstGeom>
          <a:noFill/>
        </p:spPr>
        <p:txBody>
          <a:bodyPr wrap="none" lIns="0" tIns="0" rIns="0" bIns="0" rtlCol="0" anchor="ctr">
            <a:noAutofit/>
          </a:bodyPr>
          <a:lstStyle/>
          <a:p>
            <a:r>
              <a:t>Texte :</a:t>
            </a:r>
          </a:p>
          <a:p>
            <a:r>
              <a:t>Réseau dorsal optique</a:t>
            </a:r>
          </a:p>
          <a:p>
            <a:r>
              <a:t>Simba optique DWDM</a:t>
            </a:r>
          </a:p>
        </p:txBody>
      </p:sp>
      <p:sp>
        <p:nvSpPr>
          <p:cNvPr id="26" name="TextBox 25">
            <a:extLst>
              <a:ext uri="{FF2B5EF4-FFF2-40B4-BE49-F238E27FC236}">
                <a16:creationId xmlns:a16="http://schemas.microsoft.com/office/drawing/2014/main" id="{C60624C8-3D39-E692-6B4B-06824FCA3714}"/>
              </a:ext>
            </a:extLst>
          </p:cNvPr>
          <p:cNvSpPr txBox="1"/>
          <p:nvPr/>
        </p:nvSpPr>
        <p:spPr>
          <a:xfrm>
            <a:off x="837010" y="3904623"/>
            <a:ext cx="1548000" cy="503999"/>
          </a:xfrm>
          <a:prstGeom prst="rect">
            <a:avLst/>
          </a:prstGeom>
          <a:noFill/>
        </p:spPr>
        <p:txBody>
          <a:bodyPr wrap="none" lIns="0" tIns="0" rIns="0" bIns="0" rtlCol="0" anchor="ctr">
            <a:noAutofit/>
          </a:bodyPr>
          <a:lstStyle/>
          <a:p>
            <a:r>
              <a:t>Texte :</a:t>
            </a:r>
          </a:p>
          <a:p>
            <a:r>
              <a:t>Accès par fibre</a:t>
            </a:r>
          </a:p>
        </p:txBody>
      </p:sp>
      <p:sp>
        <p:nvSpPr>
          <p:cNvPr id="33" name="TextBox 32">
            <a:extLst>
              <a:ext uri="{FF2B5EF4-FFF2-40B4-BE49-F238E27FC236}">
                <a16:creationId xmlns:a16="http://schemas.microsoft.com/office/drawing/2014/main" id="{08FE288A-6DDD-BBC6-11CE-FC9A45097DFA}"/>
              </a:ext>
            </a:extLst>
          </p:cNvPr>
          <p:cNvSpPr txBox="1"/>
          <p:nvPr/>
        </p:nvSpPr>
        <p:spPr>
          <a:xfrm>
            <a:off x="837010" y="3110514"/>
            <a:ext cx="1548000" cy="503999"/>
          </a:xfrm>
          <a:prstGeom prst="rect">
            <a:avLst/>
          </a:prstGeom>
          <a:noFill/>
        </p:spPr>
        <p:txBody>
          <a:bodyPr wrap="none" lIns="0" tIns="0" rIns="0" bIns="0" rtlCol="0" anchor="ctr">
            <a:noAutofit/>
          </a:bodyPr>
          <a:lstStyle/>
          <a:p>
            <a:r>
              <a:t>Bâtiments &amp; nœuds</a:t>
            </a:r>
          </a:p>
        </p:txBody>
      </p:sp>
      <p:sp>
        <p:nvSpPr>
          <p:cNvPr id="20" name="Freeform 19">
            <a:extLst>
              <a:ext uri="{FF2B5EF4-FFF2-40B4-BE49-F238E27FC236}">
                <a16:creationId xmlns:a16="http://schemas.microsoft.com/office/drawing/2014/main" id="{3DA9E804-0C5A-CEF2-9FBE-5FA6E4B3B3B1}"/>
              </a:ext>
            </a:extLst>
          </p:cNvPr>
          <p:cNvSpPr/>
          <p:nvPr/>
        </p:nvSpPr>
        <p:spPr>
          <a:xfrm rot="18900000">
            <a:off x="7867797" y="1384080"/>
            <a:ext cx="186761" cy="209026"/>
          </a:xfrm>
          <a:custGeom>
            <a:avLst/>
            <a:gdLst>
              <a:gd name="connsiteX0" fmla="*/ 180404 w 186761"/>
              <a:gd name="connsiteY0" fmla="*/ 89130 h 209026"/>
              <a:gd name="connsiteX1" fmla="*/ 97631 w 186761"/>
              <a:gd name="connsiteY1" fmla="*/ 6358 h 209026"/>
              <a:gd name="connsiteX2" fmla="*/ 67056 w 186761"/>
              <a:gd name="connsiteY2" fmla="*/ 6358 h 209026"/>
              <a:gd name="connsiteX3" fmla="*/ 67056 w 186761"/>
              <a:gd name="connsiteY3" fmla="*/ 36933 h 209026"/>
              <a:gd name="connsiteX4" fmla="*/ 112871 w 186761"/>
              <a:gd name="connsiteY4" fmla="*/ 82748 h 209026"/>
              <a:gd name="connsiteX5" fmla="*/ 112871 w 186761"/>
              <a:gd name="connsiteY5" fmla="*/ 82748 h 209026"/>
              <a:gd name="connsiteX6" fmla="*/ 17240 w 186761"/>
              <a:gd name="connsiteY6" fmla="*/ 82844 h 209026"/>
              <a:gd name="connsiteX7" fmla="*/ 0 w 186761"/>
              <a:gd name="connsiteY7" fmla="*/ 100084 h 209026"/>
              <a:gd name="connsiteX8" fmla="*/ 0 w 186761"/>
              <a:gd name="connsiteY8" fmla="*/ 108942 h 209026"/>
              <a:gd name="connsiteX9" fmla="*/ 17240 w 186761"/>
              <a:gd name="connsiteY9" fmla="*/ 126182 h 209026"/>
              <a:gd name="connsiteX10" fmla="*/ 112871 w 186761"/>
              <a:gd name="connsiteY10" fmla="*/ 126182 h 209026"/>
              <a:gd name="connsiteX11" fmla="*/ 67056 w 186761"/>
              <a:gd name="connsiteY11" fmla="*/ 172093 h 209026"/>
              <a:gd name="connsiteX12" fmla="*/ 67056 w 186761"/>
              <a:gd name="connsiteY12" fmla="*/ 202668 h 209026"/>
              <a:gd name="connsiteX13" fmla="*/ 97631 w 186761"/>
              <a:gd name="connsiteY13" fmla="*/ 202668 h 209026"/>
              <a:gd name="connsiteX14" fmla="*/ 180404 w 186761"/>
              <a:gd name="connsiteY14" fmla="*/ 119896 h 209026"/>
              <a:gd name="connsiteX15" fmla="*/ 180404 w 186761"/>
              <a:gd name="connsiteY15" fmla="*/ 119896 h 209026"/>
              <a:gd name="connsiteX16" fmla="*/ 180404 w 186761"/>
              <a:gd name="connsiteY16" fmla="*/ 119896 h 209026"/>
              <a:gd name="connsiteX17" fmla="*/ 180404 w 186761"/>
              <a:gd name="connsiteY17" fmla="*/ 89321 h 20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761" h="209026">
                <a:moveTo>
                  <a:pt x="180404" y="89130"/>
                </a:moveTo>
                <a:lnTo>
                  <a:pt x="97631" y="6358"/>
                </a:lnTo>
                <a:cubicBezTo>
                  <a:pt x="89154" y="-2119"/>
                  <a:pt x="75438" y="-2119"/>
                  <a:pt x="67056" y="6358"/>
                </a:cubicBezTo>
                <a:cubicBezTo>
                  <a:pt x="58579" y="14835"/>
                  <a:pt x="58579" y="28551"/>
                  <a:pt x="67056" y="36933"/>
                </a:cubicBezTo>
                <a:lnTo>
                  <a:pt x="112871" y="82748"/>
                </a:lnTo>
                <a:lnTo>
                  <a:pt x="112871" y="82748"/>
                </a:lnTo>
                <a:cubicBezTo>
                  <a:pt x="112871" y="82748"/>
                  <a:pt x="17240" y="82844"/>
                  <a:pt x="17240" y="82844"/>
                </a:cubicBezTo>
                <a:cubicBezTo>
                  <a:pt x="7715" y="82844"/>
                  <a:pt x="0" y="90559"/>
                  <a:pt x="0" y="100084"/>
                </a:cubicBezTo>
                <a:lnTo>
                  <a:pt x="0" y="108942"/>
                </a:lnTo>
                <a:cubicBezTo>
                  <a:pt x="0" y="118467"/>
                  <a:pt x="7715" y="126182"/>
                  <a:pt x="17240" y="126182"/>
                </a:cubicBezTo>
                <a:lnTo>
                  <a:pt x="112871" y="126182"/>
                </a:lnTo>
                <a:cubicBezTo>
                  <a:pt x="112871" y="126182"/>
                  <a:pt x="67056" y="172093"/>
                  <a:pt x="67056" y="172093"/>
                </a:cubicBezTo>
                <a:cubicBezTo>
                  <a:pt x="58579" y="180570"/>
                  <a:pt x="58579" y="194286"/>
                  <a:pt x="67056" y="202668"/>
                </a:cubicBezTo>
                <a:cubicBezTo>
                  <a:pt x="75533" y="211145"/>
                  <a:pt x="89249" y="211145"/>
                  <a:pt x="97631" y="202668"/>
                </a:cubicBezTo>
                <a:lnTo>
                  <a:pt x="180404" y="119896"/>
                </a:lnTo>
                <a:cubicBezTo>
                  <a:pt x="180404" y="119896"/>
                  <a:pt x="180404" y="119896"/>
                  <a:pt x="180404" y="119896"/>
                </a:cubicBezTo>
                <a:lnTo>
                  <a:pt x="180404" y="119896"/>
                </a:lnTo>
                <a:cubicBezTo>
                  <a:pt x="188881" y="111419"/>
                  <a:pt x="188881" y="97703"/>
                  <a:pt x="180404" y="89321"/>
                </a:cubicBezTo>
                <a:close/>
              </a:path>
            </a:pathLst>
          </a:custGeom>
          <a:solidFill>
            <a:schemeClr val="accent4"/>
          </a:solidFill>
          <a:ln w="9525" cap="flat">
            <a:noFill/>
            <a:prstDash val="solid"/>
            <a:miter/>
          </a:ln>
        </p:spPr>
        <p:txBody>
          <a:bodyPr rtlCol="0" anchor="ctr"/>
          <a:lstStyle/>
          <a:p>
            <a:pPr marL="0" marR="0" lvl="0" indent="0" algn="l" defTabSz="408104" rtl="0" eaLnBrk="1" fontAlgn="auto" latinLnBrk="0" hangingPunct="1">
              <a:lnSpc>
                <a:spcPct val="100000"/>
              </a:lnSpc>
              <a:spcBef>
                <a:spcPts val="0"/>
              </a:spcBef>
              <a:spcAft>
                <a:spcPts val="0"/>
              </a:spcAft>
              <a:buClrTx/>
              <a:buSzTx/>
              <a:buFontTx/>
              <a:buNone/>
              <a:tabLst/>
              <a:defRPr/>
            </a:pPr>
            <a:endParaRPr kumimoji="0" lang="en-BE" sz="1620" b="0" i="0" u="none" strike="noStrike" kern="1200" cap="none" spc="0" normalizeH="0" baseline="0" noProof="0">
              <a:ln>
                <a:noFill/>
              </a:ln>
              <a:solidFill>
                <a:srgbClr val="FFFFFF"/>
              </a:solidFill>
              <a:effectLst/>
              <a:uLnTx/>
              <a:uFillTx/>
              <a:latin typeface="Proximus"/>
              <a:ea typeface="+mn-ea"/>
              <a:cs typeface="+mn-cs"/>
            </a:endParaRPr>
          </a:p>
        </p:txBody>
      </p:sp>
      <p:sp>
        <p:nvSpPr>
          <p:cNvPr id="34" name="TextBox 33">
            <a:extLst>
              <a:ext uri="{FF2B5EF4-FFF2-40B4-BE49-F238E27FC236}">
                <a16:creationId xmlns:a16="http://schemas.microsoft.com/office/drawing/2014/main" id="{4C45A52C-3B9C-EB90-3F39-009FFEF09533}"/>
              </a:ext>
            </a:extLst>
          </p:cNvPr>
          <p:cNvSpPr txBox="1"/>
          <p:nvPr/>
        </p:nvSpPr>
        <p:spPr>
          <a:xfrm>
            <a:off x="7017540" y="2054108"/>
            <a:ext cx="1548000" cy="503999"/>
          </a:xfrm>
          <a:prstGeom prst="rect">
            <a:avLst/>
          </a:prstGeom>
          <a:noFill/>
        </p:spPr>
        <p:txBody>
          <a:bodyPr wrap="none" lIns="0" tIns="0" rIns="0" bIns="0" rtlCol="0" anchor="ctr">
            <a:noAutofit/>
          </a:bodyPr>
          <a:lstStyle/>
          <a:p>
            <a:r>
              <a:t>Texte :</a:t>
            </a:r>
          </a:p>
          <a:p>
            <a:r>
              <a:t>Règlement UE n° HRV d'ici 2030</a:t>
            </a:r>
          </a:p>
        </p:txBody>
      </p:sp>
      <p:sp>
        <p:nvSpPr>
          <p:cNvPr id="35" name="TextBox 34">
            <a:extLst>
              <a:ext uri="{FF2B5EF4-FFF2-40B4-BE49-F238E27FC236}">
                <a16:creationId xmlns:a16="http://schemas.microsoft.com/office/drawing/2014/main" id="{50BB6D01-D88C-1A06-B43F-DFE20EB876A7}"/>
              </a:ext>
            </a:extLst>
          </p:cNvPr>
          <p:cNvSpPr txBox="1"/>
          <p:nvPr/>
        </p:nvSpPr>
        <p:spPr>
          <a:xfrm>
            <a:off x="7017540" y="2493439"/>
            <a:ext cx="1548000" cy="503999"/>
          </a:xfrm>
          <a:prstGeom prst="rect">
            <a:avLst/>
          </a:prstGeom>
          <a:noFill/>
        </p:spPr>
        <p:txBody>
          <a:bodyPr wrap="none" lIns="0" tIns="0" rIns="0" bIns="0" rtlCol="0" anchor="ctr">
            <a:noAutofit/>
          </a:bodyPr>
          <a:lstStyle/>
          <a:p>
            <a:r>
              <a:t>Texte:</a:t>
            </a:r>
          </a:p>
          <a:p>
            <a:r>
              <a:t>À l'épreuve du quantum</a:t>
            </a:r>
          </a:p>
        </p:txBody>
      </p:sp>
      <p:sp>
        <p:nvSpPr>
          <p:cNvPr id="36" name="TextBox 35">
            <a:extLst>
              <a:ext uri="{FF2B5EF4-FFF2-40B4-BE49-F238E27FC236}">
                <a16:creationId xmlns:a16="http://schemas.microsoft.com/office/drawing/2014/main" id="{94343DE9-9F4B-28EE-4BB5-F5A3EC1FEF0C}"/>
              </a:ext>
            </a:extLst>
          </p:cNvPr>
          <p:cNvSpPr txBox="1"/>
          <p:nvPr/>
        </p:nvSpPr>
        <p:spPr>
          <a:xfrm>
            <a:off x="7017540" y="3041170"/>
            <a:ext cx="1548000" cy="503999"/>
          </a:xfrm>
          <a:prstGeom prst="rect">
            <a:avLst/>
          </a:prstGeom>
          <a:noFill/>
        </p:spPr>
        <p:txBody>
          <a:bodyPr wrap="none" lIns="0" tIns="0" rIns="0" bIns="0" rtlCol="0" anchor="ctr">
            <a:noAutofit/>
          </a:bodyPr>
          <a:lstStyle/>
          <a:p>
            <a:r>
              <a:t>Texte :</a:t>
            </a:r>
          </a:p>
          <a:p>
            <a:r>
              <a:t>Simplifier davantage</a:t>
            </a:r>
          </a:p>
        </p:txBody>
      </p:sp>
      <p:sp>
        <p:nvSpPr>
          <p:cNvPr id="37" name="TextBox 36">
            <a:extLst>
              <a:ext uri="{FF2B5EF4-FFF2-40B4-BE49-F238E27FC236}">
                <a16:creationId xmlns:a16="http://schemas.microsoft.com/office/drawing/2014/main" id="{03F9A9E8-9ED9-3830-6A08-05559CF41823}"/>
              </a:ext>
            </a:extLst>
          </p:cNvPr>
          <p:cNvSpPr txBox="1"/>
          <p:nvPr/>
        </p:nvSpPr>
        <p:spPr>
          <a:xfrm>
            <a:off x="7017540" y="3877846"/>
            <a:ext cx="1548000" cy="503999"/>
          </a:xfrm>
          <a:prstGeom prst="rect">
            <a:avLst/>
          </a:prstGeom>
          <a:noFill/>
        </p:spPr>
        <p:txBody>
          <a:bodyPr wrap="none" lIns="0" tIns="0" rIns="0" bIns="0" rtlCol="0" anchor="ctr">
            <a:noAutofit/>
          </a:bodyPr>
          <a:lstStyle/>
          <a:p>
            <a:r>
              <a:t>Texte :</a:t>
            </a:r>
          </a:p>
          <a:p>
            <a:r>
              <a:t>Passer à l'échelle</a:t>
            </a:r>
          </a:p>
        </p:txBody>
      </p:sp>
      <p:sp>
        <p:nvSpPr>
          <p:cNvPr id="38" name="Freeform 37">
            <a:extLst>
              <a:ext uri="{FF2B5EF4-FFF2-40B4-BE49-F238E27FC236}">
                <a16:creationId xmlns:a16="http://schemas.microsoft.com/office/drawing/2014/main" id="{08E257BC-A251-A3CD-C3E3-DF196CC69E2E}"/>
              </a:ext>
            </a:extLst>
          </p:cNvPr>
          <p:cNvSpPr/>
          <p:nvPr/>
        </p:nvSpPr>
        <p:spPr>
          <a:xfrm rot="18900000">
            <a:off x="7867797" y="4029395"/>
            <a:ext cx="186761" cy="209026"/>
          </a:xfrm>
          <a:custGeom>
            <a:avLst/>
            <a:gdLst>
              <a:gd name="connsiteX0" fmla="*/ 180404 w 186761"/>
              <a:gd name="connsiteY0" fmla="*/ 89130 h 209026"/>
              <a:gd name="connsiteX1" fmla="*/ 97631 w 186761"/>
              <a:gd name="connsiteY1" fmla="*/ 6358 h 209026"/>
              <a:gd name="connsiteX2" fmla="*/ 67056 w 186761"/>
              <a:gd name="connsiteY2" fmla="*/ 6358 h 209026"/>
              <a:gd name="connsiteX3" fmla="*/ 67056 w 186761"/>
              <a:gd name="connsiteY3" fmla="*/ 36933 h 209026"/>
              <a:gd name="connsiteX4" fmla="*/ 112871 w 186761"/>
              <a:gd name="connsiteY4" fmla="*/ 82748 h 209026"/>
              <a:gd name="connsiteX5" fmla="*/ 112871 w 186761"/>
              <a:gd name="connsiteY5" fmla="*/ 82748 h 209026"/>
              <a:gd name="connsiteX6" fmla="*/ 17240 w 186761"/>
              <a:gd name="connsiteY6" fmla="*/ 82844 h 209026"/>
              <a:gd name="connsiteX7" fmla="*/ 0 w 186761"/>
              <a:gd name="connsiteY7" fmla="*/ 100084 h 209026"/>
              <a:gd name="connsiteX8" fmla="*/ 0 w 186761"/>
              <a:gd name="connsiteY8" fmla="*/ 108942 h 209026"/>
              <a:gd name="connsiteX9" fmla="*/ 17240 w 186761"/>
              <a:gd name="connsiteY9" fmla="*/ 126182 h 209026"/>
              <a:gd name="connsiteX10" fmla="*/ 112871 w 186761"/>
              <a:gd name="connsiteY10" fmla="*/ 126182 h 209026"/>
              <a:gd name="connsiteX11" fmla="*/ 67056 w 186761"/>
              <a:gd name="connsiteY11" fmla="*/ 172093 h 209026"/>
              <a:gd name="connsiteX12" fmla="*/ 67056 w 186761"/>
              <a:gd name="connsiteY12" fmla="*/ 202668 h 209026"/>
              <a:gd name="connsiteX13" fmla="*/ 97631 w 186761"/>
              <a:gd name="connsiteY13" fmla="*/ 202668 h 209026"/>
              <a:gd name="connsiteX14" fmla="*/ 180404 w 186761"/>
              <a:gd name="connsiteY14" fmla="*/ 119896 h 209026"/>
              <a:gd name="connsiteX15" fmla="*/ 180404 w 186761"/>
              <a:gd name="connsiteY15" fmla="*/ 119896 h 209026"/>
              <a:gd name="connsiteX16" fmla="*/ 180404 w 186761"/>
              <a:gd name="connsiteY16" fmla="*/ 119896 h 209026"/>
              <a:gd name="connsiteX17" fmla="*/ 180404 w 186761"/>
              <a:gd name="connsiteY17" fmla="*/ 89321 h 20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761" h="209026">
                <a:moveTo>
                  <a:pt x="180404" y="89130"/>
                </a:moveTo>
                <a:lnTo>
                  <a:pt x="97631" y="6358"/>
                </a:lnTo>
                <a:cubicBezTo>
                  <a:pt x="89154" y="-2119"/>
                  <a:pt x="75438" y="-2119"/>
                  <a:pt x="67056" y="6358"/>
                </a:cubicBezTo>
                <a:cubicBezTo>
                  <a:pt x="58579" y="14835"/>
                  <a:pt x="58579" y="28551"/>
                  <a:pt x="67056" y="36933"/>
                </a:cubicBezTo>
                <a:lnTo>
                  <a:pt x="112871" y="82748"/>
                </a:lnTo>
                <a:lnTo>
                  <a:pt x="112871" y="82748"/>
                </a:lnTo>
                <a:cubicBezTo>
                  <a:pt x="112871" y="82748"/>
                  <a:pt x="17240" y="82844"/>
                  <a:pt x="17240" y="82844"/>
                </a:cubicBezTo>
                <a:cubicBezTo>
                  <a:pt x="7715" y="82844"/>
                  <a:pt x="0" y="90559"/>
                  <a:pt x="0" y="100084"/>
                </a:cubicBezTo>
                <a:lnTo>
                  <a:pt x="0" y="108942"/>
                </a:lnTo>
                <a:cubicBezTo>
                  <a:pt x="0" y="118467"/>
                  <a:pt x="7715" y="126182"/>
                  <a:pt x="17240" y="126182"/>
                </a:cubicBezTo>
                <a:lnTo>
                  <a:pt x="112871" y="126182"/>
                </a:lnTo>
                <a:cubicBezTo>
                  <a:pt x="112871" y="126182"/>
                  <a:pt x="67056" y="172093"/>
                  <a:pt x="67056" y="172093"/>
                </a:cubicBezTo>
                <a:cubicBezTo>
                  <a:pt x="58579" y="180570"/>
                  <a:pt x="58579" y="194286"/>
                  <a:pt x="67056" y="202668"/>
                </a:cubicBezTo>
                <a:cubicBezTo>
                  <a:pt x="75533" y="211145"/>
                  <a:pt x="89249" y="211145"/>
                  <a:pt x="97631" y="202668"/>
                </a:cubicBezTo>
                <a:lnTo>
                  <a:pt x="180404" y="119896"/>
                </a:lnTo>
                <a:cubicBezTo>
                  <a:pt x="180404" y="119896"/>
                  <a:pt x="180404" y="119896"/>
                  <a:pt x="180404" y="119896"/>
                </a:cubicBezTo>
                <a:lnTo>
                  <a:pt x="180404" y="119896"/>
                </a:lnTo>
                <a:cubicBezTo>
                  <a:pt x="188881" y="111419"/>
                  <a:pt x="188881" y="97703"/>
                  <a:pt x="180404" y="89321"/>
                </a:cubicBezTo>
                <a:close/>
              </a:path>
            </a:pathLst>
          </a:custGeom>
          <a:solidFill>
            <a:schemeClr val="accent1"/>
          </a:solidFill>
          <a:ln w="9525" cap="flat">
            <a:noFill/>
            <a:prstDash val="solid"/>
            <a:miter/>
          </a:ln>
        </p:spPr>
        <p:txBody>
          <a:bodyPr rtlCol="0" anchor="ctr"/>
          <a:lstStyle/>
          <a:p>
            <a:pPr marL="0" marR="0" lvl="0" indent="0" algn="l" defTabSz="408104" rtl="0" eaLnBrk="1" fontAlgn="auto" latinLnBrk="0" hangingPunct="1">
              <a:lnSpc>
                <a:spcPct val="100000"/>
              </a:lnSpc>
              <a:spcBef>
                <a:spcPts val="0"/>
              </a:spcBef>
              <a:spcAft>
                <a:spcPts val="0"/>
              </a:spcAft>
              <a:buClrTx/>
              <a:buSzTx/>
              <a:buFontTx/>
              <a:buNone/>
              <a:tabLst/>
              <a:defRPr/>
            </a:pPr>
            <a:endParaRPr kumimoji="0" lang="en-BE" sz="1620" b="0" i="0" u="none" strike="noStrike" kern="1200" cap="none" spc="0" normalizeH="0" baseline="0" noProof="0">
              <a:ln>
                <a:noFill/>
              </a:ln>
              <a:solidFill>
                <a:srgbClr val="FFFFFF"/>
              </a:solidFill>
              <a:effectLst/>
              <a:uLnTx/>
              <a:uFillTx/>
              <a:latin typeface="Proximus"/>
              <a:ea typeface="+mn-ea"/>
              <a:cs typeface="+mn-cs"/>
            </a:endParaRPr>
          </a:p>
        </p:txBody>
      </p:sp>
      <p:sp>
        <p:nvSpPr>
          <p:cNvPr id="40" name="Right Brace 39">
            <a:extLst>
              <a:ext uri="{FF2B5EF4-FFF2-40B4-BE49-F238E27FC236}">
                <a16:creationId xmlns:a16="http://schemas.microsoft.com/office/drawing/2014/main" id="{08AAF624-8395-1C85-97DD-D122D643CFC7}"/>
              </a:ext>
            </a:extLst>
          </p:cNvPr>
          <p:cNvSpPr/>
          <p:nvPr/>
        </p:nvSpPr>
        <p:spPr>
          <a:xfrm>
            <a:off x="6751608" y="3841845"/>
            <a:ext cx="92990" cy="576000"/>
          </a:xfrm>
          <a:prstGeom prst="rightBrace">
            <a:avLst/>
          </a:prstGeom>
          <a:ln w="2540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1" name="Right Brace 40">
            <a:extLst>
              <a:ext uri="{FF2B5EF4-FFF2-40B4-BE49-F238E27FC236}">
                <a16:creationId xmlns:a16="http://schemas.microsoft.com/office/drawing/2014/main" id="{430746B0-7F73-EF5B-1B4E-7D7DC1AAB307}"/>
              </a:ext>
            </a:extLst>
          </p:cNvPr>
          <p:cNvSpPr/>
          <p:nvPr/>
        </p:nvSpPr>
        <p:spPr>
          <a:xfrm>
            <a:off x="6751608" y="3023169"/>
            <a:ext cx="92990" cy="540000"/>
          </a:xfrm>
          <a:prstGeom prst="rightBrace">
            <a:avLst/>
          </a:prstGeom>
          <a:ln w="25400" cap="rnd">
            <a:gradFill>
              <a:gsLst>
                <a:gs pos="0">
                  <a:srgbClr val="4396D6"/>
                </a:gs>
                <a:gs pos="100000">
                  <a:schemeClr val="bg1"/>
                </a:gs>
              </a:gsLst>
              <a:lin ang="5400000" scaled="1"/>
            </a:gra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2" name="Right Brace 41">
            <a:extLst>
              <a:ext uri="{FF2B5EF4-FFF2-40B4-BE49-F238E27FC236}">
                <a16:creationId xmlns:a16="http://schemas.microsoft.com/office/drawing/2014/main" id="{B0D0221F-FF33-72AA-A823-61738AD02D1E}"/>
              </a:ext>
            </a:extLst>
          </p:cNvPr>
          <p:cNvSpPr/>
          <p:nvPr/>
        </p:nvSpPr>
        <p:spPr>
          <a:xfrm>
            <a:off x="6751608" y="2075186"/>
            <a:ext cx="92990" cy="900000"/>
          </a:xfrm>
          <a:prstGeom prst="rightBrace">
            <a:avLst/>
          </a:prstGeom>
          <a:ln w="25400" cap="rnd">
            <a:gradFill>
              <a:gsLst>
                <a:gs pos="0">
                  <a:schemeClr val="bg2"/>
                </a:gs>
                <a:gs pos="100000">
                  <a:srgbClr val="4396D6"/>
                </a:gs>
              </a:gsLst>
              <a:lin ang="5400000" scaled="1"/>
            </a:gra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3" name="Right Brace 42">
            <a:extLst>
              <a:ext uri="{FF2B5EF4-FFF2-40B4-BE49-F238E27FC236}">
                <a16:creationId xmlns:a16="http://schemas.microsoft.com/office/drawing/2014/main" id="{4E24C14C-C4E7-EE75-F5D7-F0ECE887D5D8}"/>
              </a:ext>
            </a:extLst>
          </p:cNvPr>
          <p:cNvSpPr/>
          <p:nvPr/>
        </p:nvSpPr>
        <p:spPr>
          <a:xfrm>
            <a:off x="6748037" y="1205849"/>
            <a:ext cx="92990" cy="576000"/>
          </a:xfrm>
          <a:prstGeom prst="rightBrace">
            <a:avLst/>
          </a:prstGeom>
          <a:ln w="25400" cap="rnd">
            <a:solidFill>
              <a:schemeClr val="accent4"/>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15" name="TextBox 2">
            <a:extLst>
              <a:ext uri="{FF2B5EF4-FFF2-40B4-BE49-F238E27FC236}">
                <a16:creationId xmlns:a16="http://schemas.microsoft.com/office/drawing/2014/main" id="{CDE188D6-C8B9-8FC3-F516-2ED34036DDB3}"/>
              </a:ext>
            </a:extLst>
          </p:cNvPr>
          <p:cNvSpPr txBox="1"/>
          <p:nvPr/>
        </p:nvSpPr>
        <p:spPr>
          <a:xfrm>
            <a:off x="3689040" y="3832536"/>
            <a:ext cx="1776178" cy="603040"/>
          </a:xfrm>
          <a:prstGeom prst="rect">
            <a:avLst/>
          </a:prstGeom>
          <a:noFill/>
        </p:spPr>
        <p:txBody>
          <a:bodyPr wrap="none" lIns="0" tIns="0" rIns="0" bIns="0" rtlCol="0" anchor="ctr">
            <a:noAutofit/>
          </a:bodyPr>
          <a:lstStyle/>
          <a:p>
            <a:r>
              <a:t>Texte :</a:t>
            </a:r>
          </a:p>
          <a:p>
            <a:r>
              <a:t>OLT  Terminal de Ligne Optique</a:t>
            </a:r>
          </a:p>
          <a:p>
            <a:r>
              <a:t>OSS  Altiplano</a:t>
            </a:r>
          </a:p>
        </p:txBody>
      </p:sp>
    </p:spTree>
    <p:extLst>
      <p:ext uri="{BB962C8B-B14F-4D97-AF65-F5344CB8AC3E}">
        <p14:creationId xmlns:p14="http://schemas.microsoft.com/office/powerpoint/2010/main" val="40730068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8547C-BD21-631B-AEF4-2123893272DA}"/>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43B8CDA9-50C9-AB0A-9F69-21422D5D5521}"/>
              </a:ext>
            </a:extLst>
          </p:cNvPr>
          <p:cNvSpPr/>
          <p:nvPr/>
        </p:nvSpPr>
        <p:spPr>
          <a:xfrm>
            <a:off x="460375" y="450850"/>
            <a:ext cx="8221665" cy="4244975"/>
          </a:xfrm>
          <a:prstGeom prst="roundRect">
            <a:avLst>
              <a:gd name="adj" fmla="val 2317"/>
            </a:avLst>
          </a:prstGeom>
          <a:gradFill flip="none" rotWithShape="1">
            <a:gsLst>
              <a:gs pos="20000">
                <a:schemeClr val="bg1"/>
              </a:gs>
              <a:gs pos="99000">
                <a:schemeClr val="accent4"/>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dirty="0">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132BC0C2-C86C-3FE8-3261-03640F9538E2}"/>
              </a:ext>
            </a:extLst>
          </p:cNvPr>
          <p:cNvSpPr>
            <a:spLocks noGrp="1"/>
          </p:cNvSpPr>
          <p:nvPr>
            <p:ph type="title"/>
          </p:nvPr>
        </p:nvSpPr>
        <p:spPr>
          <a:xfrm>
            <a:off x="3982151" y="1516604"/>
            <a:ext cx="4361518" cy="332486"/>
          </a:xfrm>
        </p:spPr>
        <p:txBody>
          <a:bodyPr/>
          <a:lstStyle/>
          <a:p>
            <a:r>
              <a:t>Texte :</a:t>
            </a:r>
          </a:p>
          <a:p>
            <a:r>
              <a:t>Que signifie OSS ?</a:t>
            </a:r>
          </a:p>
        </p:txBody>
      </p:sp>
      <p:sp>
        <p:nvSpPr>
          <p:cNvPr id="4" name="Title 1">
            <a:extLst>
              <a:ext uri="{FF2B5EF4-FFF2-40B4-BE49-F238E27FC236}">
                <a16:creationId xmlns:a16="http://schemas.microsoft.com/office/drawing/2014/main" id="{DC688045-0E00-F86A-3679-051A66C2BBCC}"/>
              </a:ext>
            </a:extLst>
          </p:cNvPr>
          <p:cNvSpPr txBox="1">
            <a:spLocks/>
          </p:cNvSpPr>
          <p:nvPr/>
        </p:nvSpPr>
        <p:spPr>
          <a:xfrm>
            <a:off x="4005746" y="2045800"/>
            <a:ext cx="4267766"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Un film : OSS 117</a:t>
            </a:r>
          </a:p>
          <a:p>
            <a:r>
              <a:t>Opérer Soutenir &amp; Stabiliser</a:t>
            </a:r>
          </a:p>
          <a:p>
            <a:r>
              <a:t>Système de Support Opérationnel</a:t>
            </a:r>
          </a:p>
          <a:p>
            <a:r>
              <a:t>Oignons Salsa &amp; Saucisses</a:t>
            </a:r>
          </a:p>
        </p:txBody>
      </p:sp>
      <p:grpSp>
        <p:nvGrpSpPr>
          <p:cNvPr id="5" name="Group 4">
            <a:extLst>
              <a:ext uri="{FF2B5EF4-FFF2-40B4-BE49-F238E27FC236}">
                <a16:creationId xmlns:a16="http://schemas.microsoft.com/office/drawing/2014/main" id="{3BFF413E-2C29-50E8-8265-81C4784EF388}"/>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5597ED4C-DB4D-F4E0-F130-FE8357207929}"/>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8" name="Group 7">
              <a:extLst>
                <a:ext uri="{FF2B5EF4-FFF2-40B4-BE49-F238E27FC236}">
                  <a16:creationId xmlns:a16="http://schemas.microsoft.com/office/drawing/2014/main" id="{2DD9F953-B28F-32CC-5217-760FD6CBBA96}"/>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AB362F1F-E450-4774-7726-5591BC671675}"/>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AD5158CB-0F10-F1A7-92F2-DFA6AC501AB0}"/>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8" name="Freeform 17">
                <a:extLst>
                  <a:ext uri="{FF2B5EF4-FFF2-40B4-BE49-F238E27FC236}">
                    <a16:creationId xmlns:a16="http://schemas.microsoft.com/office/drawing/2014/main" id="{919741BE-9946-009C-32DD-F9CC7A1C2043}"/>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9" name="Afbeelding 4">
              <a:extLst>
                <a:ext uri="{FF2B5EF4-FFF2-40B4-BE49-F238E27FC236}">
                  <a16:creationId xmlns:a16="http://schemas.microsoft.com/office/drawing/2014/main" id="{9FECC095-C6A2-4415-AF35-29487620F701}"/>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9127194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5D597-F0CD-6AE6-EF15-BEAF50EF5204}"/>
            </a:ext>
          </a:extLst>
        </p:cNvPr>
        <p:cNvGrpSpPr/>
        <p:nvPr/>
      </p:nvGrpSpPr>
      <p:grpSpPr>
        <a:xfrm>
          <a:off x="0" y="0"/>
          <a:ext cx="0" cy="0"/>
          <a:chOff x="0" y="0"/>
          <a:chExt cx="0" cy="0"/>
        </a:xfrm>
      </p:grpSpPr>
      <p:sp>
        <p:nvSpPr>
          <p:cNvPr id="11" name="Rounded Rectangle 10">
            <a:extLst>
              <a:ext uri="{FF2B5EF4-FFF2-40B4-BE49-F238E27FC236}">
                <a16:creationId xmlns:a16="http://schemas.microsoft.com/office/drawing/2014/main" id="{8470AC94-C5AE-8C61-6D66-9734D204FE95}"/>
              </a:ext>
            </a:extLst>
          </p:cNvPr>
          <p:cNvSpPr/>
          <p:nvPr/>
        </p:nvSpPr>
        <p:spPr>
          <a:xfrm>
            <a:off x="6797800" y="1198218"/>
            <a:ext cx="1884240" cy="3367529"/>
          </a:xfrm>
          <a:prstGeom prst="roundRect">
            <a:avLst>
              <a:gd name="adj" fmla="val 10110"/>
            </a:avLst>
          </a:prstGeom>
          <a:blipFill>
            <a:blip r:embed="rId3"/>
            <a:srcRect/>
            <a:stretch>
              <a:fillRect l="-265" t="-6952" r="-24517" b="-1717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2" name="Title 1">
            <a:extLst>
              <a:ext uri="{FF2B5EF4-FFF2-40B4-BE49-F238E27FC236}">
                <a16:creationId xmlns:a16="http://schemas.microsoft.com/office/drawing/2014/main" id="{DA79C71D-8D55-5C1C-325B-D170540512B8}"/>
              </a:ext>
            </a:extLst>
          </p:cNvPr>
          <p:cNvSpPr>
            <a:spLocks noGrp="1"/>
          </p:cNvSpPr>
          <p:nvPr>
            <p:ph type="title"/>
          </p:nvPr>
        </p:nvSpPr>
        <p:spPr>
          <a:xfrm>
            <a:off x="1226989" y="377826"/>
            <a:ext cx="7455051" cy="660092"/>
          </a:xfrm>
        </p:spPr>
        <p:txBody>
          <a:bodyPr anchor="ctr"/>
          <a:lstStyle/>
          <a:p>
            <a:r>
              <a:t>Texte :</a:t>
            </a:r>
          </a:p>
          <a:p>
            <a:r>
              <a:t>Fondations des réseaux en 2025</a:t>
            </a:r>
          </a:p>
        </p:txBody>
      </p:sp>
      <p:sp>
        <p:nvSpPr>
          <p:cNvPr id="39" name="!!OVAL_network">
            <a:extLst>
              <a:ext uri="{FF2B5EF4-FFF2-40B4-BE49-F238E27FC236}">
                <a16:creationId xmlns:a16="http://schemas.microsoft.com/office/drawing/2014/main" id="{7ED9FC23-06B2-4EBA-7414-B598815AD12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sp>
        <p:nvSpPr>
          <p:cNvPr id="3" name="Text Placeholder 4">
            <a:extLst>
              <a:ext uri="{FF2B5EF4-FFF2-40B4-BE49-F238E27FC236}">
                <a16:creationId xmlns:a16="http://schemas.microsoft.com/office/drawing/2014/main" id="{5EFC1DAF-14B0-0946-A9E9-E528A24582C3}"/>
              </a:ext>
            </a:extLst>
          </p:cNvPr>
          <p:cNvSpPr txBox="1">
            <a:spLocks/>
          </p:cNvSpPr>
          <p:nvPr/>
        </p:nvSpPr>
        <p:spPr>
          <a:xfrm>
            <a:off x="474058" y="1205635"/>
            <a:ext cx="1882800" cy="2736973"/>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a:t>
            </a:r>
          </a:p>
          <a:p>
            <a:r>
              <a:t>Finaliser l'Architecture Dorsale</a:t>
            </a:r>
          </a:p>
          <a:p>
            <a:r>
              <a:t>Sélection du fournisseur de NEURON, notre Dorsale Optique de Nouvelle Génération et démarrer l'essai technique sur le terrain au premier semestre 2026</a:t>
            </a:r>
          </a:p>
        </p:txBody>
      </p:sp>
      <p:sp>
        <p:nvSpPr>
          <p:cNvPr id="6" name="Text Placeholder 4">
            <a:extLst>
              <a:ext uri="{FF2B5EF4-FFF2-40B4-BE49-F238E27FC236}">
                <a16:creationId xmlns:a16="http://schemas.microsoft.com/office/drawing/2014/main" id="{E76F8FF5-BD94-4FB4-2FD1-26DC1D5B837F}"/>
              </a:ext>
            </a:extLst>
          </p:cNvPr>
          <p:cNvSpPr txBox="1">
            <a:spLocks/>
          </p:cNvSpPr>
          <p:nvPr/>
        </p:nvSpPr>
        <p:spPr>
          <a:xfrm>
            <a:off x="4689886" y="1198218"/>
            <a:ext cx="1882800" cy="3367529"/>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Mettre en œuvre un premier service Fiber Ultra Speed sur 25G PON OLT, en direct et semi-automatisé.</a:t>
            </a:r>
          </a:p>
          <a:p>
            <a:r>
              <a:t>Mettre en œuvre OSS Altiplano en direct et livrer l'étude préliminaire pour la pile de développement IT OSS en 2026</a:t>
            </a:r>
          </a:p>
        </p:txBody>
      </p:sp>
      <p:sp>
        <p:nvSpPr>
          <p:cNvPr id="7" name="Text Placeholder 4">
            <a:extLst>
              <a:ext uri="{FF2B5EF4-FFF2-40B4-BE49-F238E27FC236}">
                <a16:creationId xmlns:a16="http://schemas.microsoft.com/office/drawing/2014/main" id="{398C7588-5789-8FF3-D32B-FD89D1C76E83}"/>
              </a:ext>
            </a:extLst>
          </p:cNvPr>
          <p:cNvSpPr txBox="1">
            <a:spLocks/>
          </p:cNvSpPr>
          <p:nvPr/>
        </p:nvSpPr>
        <p:spPr>
          <a:xfrm>
            <a:off x="2581972" y="1198218"/>
            <a:ext cx="1882800" cy="1736894"/>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Renforcer les plans de reprise après sinistre DRS et les programmes de résilience</a:t>
            </a:r>
          </a:p>
        </p:txBody>
      </p:sp>
      <p:pic>
        <p:nvPicPr>
          <p:cNvPr id="10" name="Graphic 9">
            <a:extLst>
              <a:ext uri="{FF2B5EF4-FFF2-40B4-BE49-F238E27FC236}">
                <a16:creationId xmlns:a16="http://schemas.microsoft.com/office/drawing/2014/main" id="{E263B226-94D8-33F0-18AD-94B1C0AC1A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182" y="517372"/>
            <a:ext cx="381000" cy="381000"/>
          </a:xfrm>
          <a:prstGeom prst="rect">
            <a:avLst/>
          </a:prstGeom>
        </p:spPr>
      </p:pic>
      <p:sp>
        <p:nvSpPr>
          <p:cNvPr id="5" name="Rounded Rectangle 4">
            <a:extLst>
              <a:ext uri="{FF2B5EF4-FFF2-40B4-BE49-F238E27FC236}">
                <a16:creationId xmlns:a16="http://schemas.microsoft.com/office/drawing/2014/main" id="{A0349D72-3442-0F2B-5DE0-615C9253FC38}"/>
              </a:ext>
            </a:extLst>
          </p:cNvPr>
          <p:cNvSpPr/>
          <p:nvPr/>
        </p:nvSpPr>
        <p:spPr>
          <a:xfrm>
            <a:off x="460375" y="4135835"/>
            <a:ext cx="1884240" cy="2015329"/>
          </a:xfrm>
          <a:prstGeom prst="roundRect">
            <a:avLst>
              <a:gd name="adj" fmla="val 10110"/>
            </a:avLst>
          </a:prstGeom>
          <a:blipFill>
            <a:blip r:embed="rId6"/>
            <a:srcRect/>
            <a:stretch>
              <a:fillRect l="-8290" t="-19095" r="-7160" b="4759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9" name="Rounded Rectangle 8">
            <a:extLst>
              <a:ext uri="{FF2B5EF4-FFF2-40B4-BE49-F238E27FC236}">
                <a16:creationId xmlns:a16="http://schemas.microsoft.com/office/drawing/2014/main" id="{4C87E731-1B4A-04D0-E017-9BA1CB982BBE}"/>
              </a:ext>
            </a:extLst>
          </p:cNvPr>
          <p:cNvSpPr/>
          <p:nvPr/>
        </p:nvSpPr>
        <p:spPr>
          <a:xfrm>
            <a:off x="2580532" y="3154021"/>
            <a:ext cx="1884240" cy="2332379"/>
          </a:xfrm>
          <a:prstGeom prst="roundRect">
            <a:avLst>
              <a:gd name="adj" fmla="val 10110"/>
            </a:avLst>
          </a:prstGeom>
          <a:blipFill>
            <a:blip r:embed="rId7"/>
            <a:srcRect/>
            <a:stretch>
              <a:fillRect l="-11892" r="-11892"/>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15" name="Rectangle: Rounded Corners 14">
            <a:extLst>
              <a:ext uri="{FF2B5EF4-FFF2-40B4-BE49-F238E27FC236}">
                <a16:creationId xmlns:a16="http://schemas.microsoft.com/office/drawing/2014/main" id="{5966E373-E79A-7799-D043-88A569B38447}"/>
              </a:ext>
            </a:extLst>
          </p:cNvPr>
          <p:cNvSpPr/>
          <p:nvPr/>
        </p:nvSpPr>
        <p:spPr>
          <a:xfrm>
            <a:off x="7005445" y="2168199"/>
            <a:ext cx="926469" cy="807101"/>
          </a:xfrm>
          <a:prstGeom prst="roundRect">
            <a:avLst>
              <a:gd name="adj" fmla="val 20562"/>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t" anchorCtr="0"/>
          <a:lstStyle/>
          <a:p>
            <a:r>
              <a:t>Texte :</a:t>
            </a:r>
          </a:p>
          <a:p>
            <a:r>
              <a:t>Vitesse, fibre</a:t>
            </a:r>
          </a:p>
        </p:txBody>
      </p:sp>
    </p:spTree>
    <p:extLst>
      <p:ext uri="{BB962C8B-B14F-4D97-AF65-F5344CB8AC3E}">
        <p14:creationId xmlns:p14="http://schemas.microsoft.com/office/powerpoint/2010/main" val="110492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4A0FA-AB3B-E0D3-9B13-511C53C65DED}"/>
            </a:ext>
          </a:extLst>
        </p:cNvPr>
        <p:cNvGrpSpPr/>
        <p:nvPr/>
      </p:nvGrpSpPr>
      <p:grpSpPr>
        <a:xfrm>
          <a:off x="0" y="0"/>
          <a:ext cx="0" cy="0"/>
          <a:chOff x="0" y="0"/>
          <a:chExt cx="0" cy="0"/>
        </a:xfrm>
      </p:grpSpPr>
      <p:sp>
        <p:nvSpPr>
          <p:cNvPr id="32" name="Text Placeholder 4">
            <a:extLst>
              <a:ext uri="{FF2B5EF4-FFF2-40B4-BE49-F238E27FC236}">
                <a16:creationId xmlns:a16="http://schemas.microsoft.com/office/drawing/2014/main" id="{D2119BEC-F525-86CD-1996-EF214164F662}"/>
              </a:ext>
            </a:extLst>
          </p:cNvPr>
          <p:cNvSpPr txBox="1">
            <a:spLocks/>
          </p:cNvSpPr>
          <p:nvPr/>
        </p:nvSpPr>
        <p:spPr>
          <a:xfrm>
            <a:off x="460375" y="3718172"/>
            <a:ext cx="8221666" cy="711135"/>
          </a:xfrm>
          <a:prstGeom prst="roundRect">
            <a:avLst>
              <a:gd name="adj" fmla="val 2317"/>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endParaRPr lang="en-GB" sz="1100">
              <a:solidFill>
                <a:srgbClr val="242424"/>
              </a:solidFill>
              <a:latin typeface="Proximus Light" pitchFamily="2" charset="77"/>
              <a:ea typeface="Times New Roman" panose="02020603050405020304" pitchFamily="18" charset="0"/>
            </a:endParaRPr>
          </a:p>
        </p:txBody>
      </p:sp>
      <p:sp>
        <p:nvSpPr>
          <p:cNvPr id="2" name="Title 1">
            <a:extLst>
              <a:ext uri="{FF2B5EF4-FFF2-40B4-BE49-F238E27FC236}">
                <a16:creationId xmlns:a16="http://schemas.microsoft.com/office/drawing/2014/main" id="{BBA6F449-15EA-B95F-7468-425566319497}"/>
              </a:ext>
            </a:extLst>
          </p:cNvPr>
          <p:cNvSpPr>
            <a:spLocks noGrp="1"/>
          </p:cNvSpPr>
          <p:nvPr>
            <p:ph type="title"/>
          </p:nvPr>
        </p:nvSpPr>
        <p:spPr>
          <a:xfrm>
            <a:off x="1226990" y="377827"/>
            <a:ext cx="7455051" cy="660092"/>
          </a:xfrm>
        </p:spPr>
        <p:txBody>
          <a:bodyPr anchor="ctr"/>
          <a:lstStyle/>
          <a:p>
            <a:r>
              <a:t>Texte :</a:t>
            </a:r>
          </a:p>
          <a:p>
            <a:r>
              <a:t>Plateformes</a:t>
            </a:r>
          </a:p>
        </p:txBody>
      </p:sp>
      <p:sp>
        <p:nvSpPr>
          <p:cNvPr id="39" name="!!OVAL_network">
            <a:extLst>
              <a:ext uri="{FF2B5EF4-FFF2-40B4-BE49-F238E27FC236}">
                <a16:creationId xmlns:a16="http://schemas.microsoft.com/office/drawing/2014/main" id="{4A56C11B-E330-BF1A-A937-C66D386B3179}"/>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11" name="Graphic 10">
            <a:extLst>
              <a:ext uri="{FF2B5EF4-FFF2-40B4-BE49-F238E27FC236}">
                <a16:creationId xmlns:a16="http://schemas.microsoft.com/office/drawing/2014/main" id="{F1F98CA8-A713-568E-D9CE-98E8C351B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825" y="599923"/>
            <a:ext cx="419100" cy="215900"/>
          </a:xfrm>
          <a:prstGeom prst="rect">
            <a:avLst/>
          </a:prstGeom>
        </p:spPr>
      </p:pic>
      <p:sp>
        <p:nvSpPr>
          <p:cNvPr id="9" name="TextBox 10">
            <a:extLst>
              <a:ext uri="{FF2B5EF4-FFF2-40B4-BE49-F238E27FC236}">
                <a16:creationId xmlns:a16="http://schemas.microsoft.com/office/drawing/2014/main" id="{54B9B8E8-2EBA-5B66-D8D1-9E2E25BBC208}"/>
              </a:ext>
            </a:extLst>
          </p:cNvPr>
          <p:cNvSpPr txBox="1"/>
          <p:nvPr/>
        </p:nvSpPr>
        <p:spPr>
          <a:xfrm>
            <a:off x="3906987" y="2170565"/>
            <a:ext cx="1330025" cy="271236"/>
          </a:xfrm>
          <a:prstGeom prst="roundRect">
            <a:avLst>
              <a:gd name="adj" fmla="val 1432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r>
              <a:t>Texte :</a:t>
            </a:r>
          </a:p>
          <a:p>
            <a:r>
              <a:t>Cloud partout</a:t>
            </a:r>
          </a:p>
        </p:txBody>
      </p:sp>
      <p:pic>
        <p:nvPicPr>
          <p:cNvPr id="10" name="Graphic 9">
            <a:extLst>
              <a:ext uri="{FF2B5EF4-FFF2-40B4-BE49-F238E27FC236}">
                <a16:creationId xmlns:a16="http://schemas.microsoft.com/office/drawing/2014/main" id="{AB22B5E2-35D0-0248-7AF3-A18CBC3F32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120386" y="2198442"/>
            <a:ext cx="126784" cy="205744"/>
          </a:xfrm>
          <a:prstGeom prst="rect">
            <a:avLst/>
          </a:prstGeom>
        </p:spPr>
      </p:pic>
      <p:cxnSp>
        <p:nvCxnSpPr>
          <p:cNvPr id="13" name="Rechte verbindingslijn 12">
            <a:extLst>
              <a:ext uri="{FF2B5EF4-FFF2-40B4-BE49-F238E27FC236}">
                <a16:creationId xmlns:a16="http://schemas.microsoft.com/office/drawing/2014/main" id="{53F6AEDB-2059-72E5-785D-9F6F7D16B059}"/>
              </a:ext>
            </a:extLst>
          </p:cNvPr>
          <p:cNvCxnSpPr>
            <a:cxnSpLocks/>
            <a:stCxn id="9" idx="3"/>
          </p:cNvCxnSpPr>
          <p:nvPr/>
        </p:nvCxnSpPr>
        <p:spPr>
          <a:xfrm>
            <a:off x="5237012" y="2306183"/>
            <a:ext cx="2375731" cy="0"/>
          </a:xfrm>
          <a:prstGeom prst="line">
            <a:avLst/>
          </a:prstGeom>
          <a:ln w="2222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9204F32-5C00-6F6A-8DDA-DD5150E746C7}"/>
              </a:ext>
            </a:extLst>
          </p:cNvPr>
          <p:cNvCxnSpPr>
            <a:cxnSpLocks/>
          </p:cNvCxnSpPr>
          <p:nvPr/>
        </p:nvCxnSpPr>
        <p:spPr>
          <a:xfrm>
            <a:off x="1543126" y="2306183"/>
            <a:ext cx="2375731" cy="0"/>
          </a:xfrm>
          <a:prstGeom prst="line">
            <a:avLst/>
          </a:prstGeom>
          <a:ln w="2222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6" name="TextBox 10">
            <a:extLst>
              <a:ext uri="{FF2B5EF4-FFF2-40B4-BE49-F238E27FC236}">
                <a16:creationId xmlns:a16="http://schemas.microsoft.com/office/drawing/2014/main" id="{B310B407-AF12-379E-4CA7-538DE5DE32B5}"/>
              </a:ext>
            </a:extLst>
          </p:cNvPr>
          <p:cNvSpPr txBox="1"/>
          <p:nvPr/>
        </p:nvSpPr>
        <p:spPr>
          <a:xfrm>
            <a:off x="896830" y="2148762"/>
            <a:ext cx="791029" cy="271236"/>
          </a:xfrm>
          <a:prstGeom prst="roundRect">
            <a:avLst>
              <a:gd name="adj" fmla="val 2408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r>
              <a:t>Texte :</a:t>
            </a:r>
          </a:p>
          <a:p>
            <a:r>
              <a:t>Aujourd'hui</a:t>
            </a:r>
          </a:p>
        </p:txBody>
      </p:sp>
      <p:sp>
        <p:nvSpPr>
          <p:cNvPr id="17" name="TextBox 10">
            <a:extLst>
              <a:ext uri="{FF2B5EF4-FFF2-40B4-BE49-F238E27FC236}">
                <a16:creationId xmlns:a16="http://schemas.microsoft.com/office/drawing/2014/main" id="{F6B1F038-D9E7-1DD1-C469-1468F6F2DB80}"/>
              </a:ext>
            </a:extLst>
          </p:cNvPr>
          <p:cNvSpPr txBox="1"/>
          <p:nvPr/>
        </p:nvSpPr>
        <p:spPr>
          <a:xfrm>
            <a:off x="7464608" y="2147975"/>
            <a:ext cx="791029" cy="271236"/>
          </a:xfrm>
          <a:prstGeom prst="roundRect">
            <a:avLst>
              <a:gd name="adj" fmla="val 2408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r>
              <a:t>Texte :</a:t>
            </a:r>
          </a:p>
          <a:p>
            <a:r>
              <a:t>Avenir</a:t>
            </a:r>
          </a:p>
        </p:txBody>
      </p:sp>
      <p:sp>
        <p:nvSpPr>
          <p:cNvPr id="18" name="TextBox 12">
            <a:extLst>
              <a:ext uri="{FF2B5EF4-FFF2-40B4-BE49-F238E27FC236}">
                <a16:creationId xmlns:a16="http://schemas.microsoft.com/office/drawing/2014/main" id="{08B13E72-DF4D-D141-62F0-045D7D8479BC}"/>
              </a:ext>
            </a:extLst>
          </p:cNvPr>
          <p:cNvSpPr txBox="1"/>
          <p:nvPr/>
        </p:nvSpPr>
        <p:spPr>
          <a:xfrm>
            <a:off x="2278884" y="3024274"/>
            <a:ext cx="1127882" cy="307777"/>
          </a:xfrm>
          <a:prstGeom prst="rect">
            <a:avLst/>
          </a:prstGeom>
          <a:noFill/>
        </p:spPr>
        <p:txBody>
          <a:bodyPr wrap="square" lIns="0" tIns="0" rIns="0" bIns="0">
            <a:spAutoFit/>
          </a:bodyPr>
          <a:lstStyle/>
          <a:p>
            <a:r>
              <a:t>Texte :</a:t>
            </a:r>
          </a:p>
          <a:p>
            <a:r>
              <a:t>Machine virtuelle</a:t>
            </a:r>
          </a:p>
          <a:p>
            <a:r>
              <a:t>sur cloud privé</a:t>
            </a:r>
          </a:p>
        </p:txBody>
      </p:sp>
      <p:sp>
        <p:nvSpPr>
          <p:cNvPr id="19" name="TextBox 1">
            <a:extLst>
              <a:ext uri="{FF2B5EF4-FFF2-40B4-BE49-F238E27FC236}">
                <a16:creationId xmlns:a16="http://schemas.microsoft.com/office/drawing/2014/main" id="{A115A3A7-84C1-F354-79F9-6C151C65231A}"/>
              </a:ext>
            </a:extLst>
          </p:cNvPr>
          <p:cNvSpPr txBox="1"/>
          <p:nvPr/>
        </p:nvSpPr>
        <p:spPr>
          <a:xfrm>
            <a:off x="4264520" y="2924276"/>
            <a:ext cx="2272182" cy="507831"/>
          </a:xfrm>
          <a:prstGeom prst="rect">
            <a:avLst/>
          </a:prstGeom>
          <a:noFill/>
        </p:spPr>
        <p:txBody>
          <a:bodyPr wrap="square">
            <a:spAutoFit/>
          </a:bodyPr>
          <a:lstStyle/>
          <a:p>
            <a:r>
              <a:t>Texte :</a:t>
            </a:r>
          </a:p>
          <a:p>
            <a:r>
              <a:t>Natif du cloud</a:t>
            </a:r>
          </a:p>
          <a:p>
            <a:r>
              <a:t>sur cloud public et privé</a:t>
            </a:r>
          </a:p>
        </p:txBody>
      </p:sp>
      <p:pic>
        <p:nvPicPr>
          <p:cNvPr id="21" name="Picture 2" descr="Icon - windows server">
            <a:extLst>
              <a:ext uri="{FF2B5EF4-FFF2-40B4-BE49-F238E27FC236}">
                <a16:creationId xmlns:a16="http://schemas.microsoft.com/office/drawing/2014/main" id="{7A984752-CAD8-24E1-FD61-91080587C1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9977" y="1657485"/>
            <a:ext cx="545696" cy="54569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con - Internet box">
            <a:extLst>
              <a:ext uri="{FF2B5EF4-FFF2-40B4-BE49-F238E27FC236}">
                <a16:creationId xmlns:a16="http://schemas.microsoft.com/office/drawing/2014/main" id="{C4A9C367-AEDF-CF5E-E429-A92BD574EC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9592" y="2318597"/>
            <a:ext cx="484748" cy="48474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Icon - Internet box">
            <a:extLst>
              <a:ext uri="{FF2B5EF4-FFF2-40B4-BE49-F238E27FC236}">
                <a16:creationId xmlns:a16="http://schemas.microsoft.com/office/drawing/2014/main" id="{EB0FC681-3F80-86B6-834E-05183DB5B5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3867" y="1536723"/>
            <a:ext cx="495069" cy="49506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
            <a:extLst>
              <a:ext uri="{FF2B5EF4-FFF2-40B4-BE49-F238E27FC236}">
                <a16:creationId xmlns:a16="http://schemas.microsoft.com/office/drawing/2014/main" id="{E89296CD-BA11-9149-09F3-865A4CBFC78E}"/>
              </a:ext>
            </a:extLst>
          </p:cNvPr>
          <p:cNvSpPr txBox="1"/>
          <p:nvPr/>
        </p:nvSpPr>
        <p:spPr>
          <a:xfrm>
            <a:off x="5363780" y="2010790"/>
            <a:ext cx="505590" cy="230832"/>
          </a:xfrm>
          <a:prstGeom prst="rect">
            <a:avLst/>
          </a:prstGeom>
          <a:noFill/>
        </p:spPr>
        <p:txBody>
          <a:bodyPr wrap="square">
            <a:spAutoFit/>
          </a:bodyPr>
          <a:lstStyle/>
          <a:p>
            <a:r>
              <a:t>Texte:</a:t>
            </a:r>
          </a:p>
          <a:p>
            <a:r>
              <a:t>uCPE</a:t>
            </a:r>
          </a:p>
          <a:p/>
          <a:p>
            <a:r>
              <a:t>(Note: "uCPE" stands for "Universal Customer Premises Equipment" and is typically used as an acronym in various languages, including French, without translation.)</a:t>
            </a:r>
          </a:p>
        </p:txBody>
      </p:sp>
      <p:sp>
        <p:nvSpPr>
          <p:cNvPr id="26" name="TextBox 3">
            <a:extLst>
              <a:ext uri="{FF2B5EF4-FFF2-40B4-BE49-F238E27FC236}">
                <a16:creationId xmlns:a16="http://schemas.microsoft.com/office/drawing/2014/main" id="{60E1AB2E-87BF-87A5-D72C-B0979CE25E5E}"/>
              </a:ext>
            </a:extLst>
          </p:cNvPr>
          <p:cNvSpPr txBox="1"/>
          <p:nvPr/>
        </p:nvSpPr>
        <p:spPr>
          <a:xfrm>
            <a:off x="1663089" y="2770730"/>
            <a:ext cx="441252" cy="230832"/>
          </a:xfrm>
          <a:prstGeom prst="rect">
            <a:avLst/>
          </a:prstGeom>
          <a:noFill/>
        </p:spPr>
        <p:txBody>
          <a:bodyPr wrap="square">
            <a:spAutoFit/>
          </a:bodyPr>
          <a:lstStyle/>
          <a:p>
            <a:r>
              <a:t>Texte:</a:t>
            </a:r>
          </a:p>
          <a:p>
            <a:r>
              <a:t>CPE</a:t>
            </a:r>
          </a:p>
        </p:txBody>
      </p:sp>
      <p:pic>
        <p:nvPicPr>
          <p:cNvPr id="27" name="Picture 2">
            <a:extLst>
              <a:ext uri="{FF2B5EF4-FFF2-40B4-BE49-F238E27FC236}">
                <a16:creationId xmlns:a16="http://schemas.microsoft.com/office/drawing/2014/main" id="{E3A83BC0-EE64-AF5A-B82F-5B340A90B4E2}"/>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2434652" y="2419998"/>
            <a:ext cx="526878" cy="54569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B4EACD0E-F4E5-E67D-7840-6691D472480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5152070" y="2419998"/>
            <a:ext cx="526878" cy="54569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Icon - expanded International">
            <a:extLst>
              <a:ext uri="{FF2B5EF4-FFF2-40B4-BE49-F238E27FC236}">
                <a16:creationId xmlns:a16="http://schemas.microsoft.com/office/drawing/2014/main" id="{6DAC34A9-FAC0-6352-FA3A-7336576178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12634" y="2538963"/>
            <a:ext cx="441862" cy="441862"/>
          </a:xfrm>
          <a:prstGeom prst="rect">
            <a:avLst/>
          </a:prstGeom>
          <a:noFill/>
          <a:extLst>
            <a:ext uri="{909E8E84-426E-40DD-AFC4-6F175D3DCCD1}">
              <a14:hiddenFill xmlns:a14="http://schemas.microsoft.com/office/drawing/2010/main">
                <a:solidFill>
                  <a:srgbClr val="FFFFFF"/>
                </a:solidFill>
              </a14:hiddenFill>
            </a:ext>
          </a:extLst>
        </p:spPr>
      </p:pic>
      <p:sp>
        <p:nvSpPr>
          <p:cNvPr id="31" name="Tekstvak 30">
            <a:extLst>
              <a:ext uri="{FF2B5EF4-FFF2-40B4-BE49-F238E27FC236}">
                <a16:creationId xmlns:a16="http://schemas.microsoft.com/office/drawing/2014/main" id="{E6D95E95-5D83-9FEF-9919-4B94AFC322A4}"/>
              </a:ext>
            </a:extLst>
          </p:cNvPr>
          <p:cNvSpPr txBox="1"/>
          <p:nvPr/>
        </p:nvSpPr>
        <p:spPr>
          <a:xfrm>
            <a:off x="1178975" y="3959061"/>
            <a:ext cx="6994028" cy="218038"/>
          </a:xfrm>
          <a:prstGeom prst="rect">
            <a:avLst/>
          </a:prstGeom>
          <a:noFill/>
        </p:spPr>
        <p:txBody>
          <a:bodyPr wrap="square" lIns="0" tIns="0" rIns="0" bIns="0" rtlCol="0">
            <a:noAutofit/>
          </a:bodyPr>
          <a:lstStyle/>
          <a:p>
            <a:r>
              <a:t>Texte :</a:t>
            </a:r>
          </a:p>
          <a:p>
            <a:r>
              <a:t>Mise en conteneur          Résilience          Exposition réseau          Réglementation des fournisseurs à haut risque</a:t>
            </a:r>
          </a:p>
        </p:txBody>
      </p:sp>
      <p:cxnSp>
        <p:nvCxnSpPr>
          <p:cNvPr id="34" name="Rechte verbindingslijn 33">
            <a:extLst>
              <a:ext uri="{FF2B5EF4-FFF2-40B4-BE49-F238E27FC236}">
                <a16:creationId xmlns:a16="http://schemas.microsoft.com/office/drawing/2014/main" id="{290FB9FC-A651-D83D-05CE-86C3ADAFCB25}"/>
              </a:ext>
            </a:extLst>
          </p:cNvPr>
          <p:cNvCxnSpPr/>
          <p:nvPr/>
        </p:nvCxnSpPr>
        <p:spPr>
          <a:xfrm>
            <a:off x="2515584"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4D3E9CD-F370-E128-98B5-4EA4E015D4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112328" y="1771564"/>
            <a:ext cx="399001" cy="399001"/>
          </a:xfrm>
          <a:prstGeom prst="rect">
            <a:avLst/>
          </a:prstGeom>
        </p:spPr>
      </p:pic>
      <p:pic>
        <p:nvPicPr>
          <p:cNvPr id="12" name="Graphic 11">
            <a:extLst>
              <a:ext uri="{FF2B5EF4-FFF2-40B4-BE49-F238E27FC236}">
                <a16:creationId xmlns:a16="http://schemas.microsoft.com/office/drawing/2014/main" id="{F9F9810B-3421-3EAF-632E-43B379C2CF39}"/>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86461" y="1771564"/>
            <a:ext cx="399001" cy="399001"/>
          </a:xfrm>
          <a:prstGeom prst="rect">
            <a:avLst/>
          </a:prstGeom>
        </p:spPr>
      </p:pic>
      <p:pic>
        <p:nvPicPr>
          <p:cNvPr id="14" name="Graphic 13">
            <a:extLst>
              <a:ext uri="{FF2B5EF4-FFF2-40B4-BE49-F238E27FC236}">
                <a16:creationId xmlns:a16="http://schemas.microsoft.com/office/drawing/2014/main" id="{1B7C95DF-71BF-5748-64A2-FC5F4B3B3E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48950" y="1771564"/>
            <a:ext cx="399001" cy="399001"/>
          </a:xfrm>
          <a:prstGeom prst="rect">
            <a:avLst/>
          </a:prstGeom>
        </p:spPr>
      </p:pic>
      <p:cxnSp>
        <p:nvCxnSpPr>
          <p:cNvPr id="20" name="Rechte verbindingslijn 19">
            <a:extLst>
              <a:ext uri="{FF2B5EF4-FFF2-40B4-BE49-F238E27FC236}">
                <a16:creationId xmlns:a16="http://schemas.microsoft.com/office/drawing/2014/main" id="{F87AE5A8-238E-0610-B602-A8B70C5AA655}"/>
              </a:ext>
            </a:extLst>
          </p:cNvPr>
          <p:cNvCxnSpPr/>
          <p:nvPr/>
        </p:nvCxnSpPr>
        <p:spPr>
          <a:xfrm>
            <a:off x="3701989"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B581184-6C80-212F-87B1-8CF63F66B00E}"/>
              </a:ext>
            </a:extLst>
          </p:cNvPr>
          <p:cNvCxnSpPr/>
          <p:nvPr/>
        </p:nvCxnSpPr>
        <p:spPr>
          <a:xfrm>
            <a:off x="5496065"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6" name="Picture 6" descr="Icon - cost centre managment">
            <a:extLst>
              <a:ext uri="{FF2B5EF4-FFF2-40B4-BE49-F238E27FC236}">
                <a16:creationId xmlns:a16="http://schemas.microsoft.com/office/drawing/2014/main" id="{58B17A60-01A6-DEEF-F9CB-CDB57A3BCC9D}"/>
              </a:ext>
            </a:extLst>
          </p:cNvPr>
          <p:cNvPicPr>
            <a:picLocks noChangeAspect="1" noChangeArrowheads="1"/>
          </p:cNvPicPr>
          <p:nvPr/>
        </p:nvPicPr>
        <p:blipFill>
          <a:blip r:embed="rId16">
            <a:alphaModFix/>
            <a:extLst>
              <a:ext uri="{28A0092B-C50C-407E-A947-70E740481C1C}">
                <a14:useLocalDpi xmlns:a14="http://schemas.microsoft.com/office/drawing/2010/main" val="0"/>
              </a:ext>
            </a:extLst>
          </a:blip>
          <a:srcRect/>
          <a:stretch>
            <a:fillRect/>
          </a:stretch>
        </p:blipFill>
        <p:spPr bwMode="auto">
          <a:xfrm>
            <a:off x="6033141" y="1708074"/>
            <a:ext cx="533801" cy="4950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ack and grey logo&#10;&#10;Description automatically generated">
            <a:extLst>
              <a:ext uri="{FF2B5EF4-FFF2-40B4-BE49-F238E27FC236}">
                <a16:creationId xmlns:a16="http://schemas.microsoft.com/office/drawing/2014/main" id="{0A6718D1-3576-3C6D-D991-B43684C9108F}"/>
              </a:ext>
            </a:extLst>
          </p:cNvPr>
          <p:cNvPicPr>
            <a:picLocks noChangeAspect="1"/>
          </p:cNvPicPr>
          <p:nvPr/>
        </p:nvPicPr>
        <p:blipFill>
          <a:blip r:embed="rId17"/>
          <a:stretch>
            <a:fillRect/>
          </a:stretch>
        </p:blipFill>
        <p:spPr>
          <a:xfrm>
            <a:off x="5887601" y="1448096"/>
            <a:ext cx="824881" cy="152517"/>
          </a:xfrm>
          <a:prstGeom prst="rect">
            <a:avLst/>
          </a:prstGeom>
        </p:spPr>
      </p:pic>
    </p:spTree>
    <p:extLst>
      <p:ext uri="{BB962C8B-B14F-4D97-AF65-F5344CB8AC3E}">
        <p14:creationId xmlns:p14="http://schemas.microsoft.com/office/powerpoint/2010/main" val="12873579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5850A-CB0C-57AE-8884-38251E6AF343}"/>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1473C962-3943-1260-51C8-D8E46B8C9142}"/>
              </a:ext>
            </a:extLst>
          </p:cNvPr>
          <p:cNvSpPr/>
          <p:nvPr/>
        </p:nvSpPr>
        <p:spPr>
          <a:xfrm>
            <a:off x="460375" y="450850"/>
            <a:ext cx="8221665" cy="4244975"/>
          </a:xfrm>
          <a:prstGeom prst="roundRect">
            <a:avLst>
              <a:gd name="adj" fmla="val 2317"/>
            </a:avLst>
          </a:prstGeom>
          <a:gradFill flip="none" rotWithShape="1">
            <a:gsLst>
              <a:gs pos="0">
                <a:schemeClr val="bg1"/>
              </a:gs>
              <a:gs pos="99000">
                <a:schemeClr val="accent4"/>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9211A7D1-A60E-DB10-61DA-7B507E7C577B}"/>
              </a:ext>
            </a:extLst>
          </p:cNvPr>
          <p:cNvSpPr>
            <a:spLocks noGrp="1"/>
          </p:cNvSpPr>
          <p:nvPr>
            <p:ph type="title"/>
          </p:nvPr>
        </p:nvSpPr>
        <p:spPr>
          <a:xfrm>
            <a:off x="3878398" y="1316482"/>
            <a:ext cx="4385069" cy="338088"/>
          </a:xfrm>
        </p:spPr>
        <p:txBody>
          <a:bodyPr/>
          <a:lstStyle/>
          <a:p>
            <a:r>
              <a:t>Texte :</a:t>
            </a:r>
          </a:p>
          <a:p>
            <a:r>
              <a:t>Que signifie CNF ?</a:t>
            </a:r>
          </a:p>
        </p:txBody>
      </p:sp>
      <p:sp>
        <p:nvSpPr>
          <p:cNvPr id="4" name="Title 1">
            <a:extLst>
              <a:ext uri="{FF2B5EF4-FFF2-40B4-BE49-F238E27FC236}">
                <a16:creationId xmlns:a16="http://schemas.microsoft.com/office/drawing/2014/main" id="{1B0D7E06-4FE3-5A26-B12A-4515BD145DF4}"/>
              </a:ext>
            </a:extLst>
          </p:cNvPr>
          <p:cNvSpPr txBox="1">
            <a:spLocks/>
          </p:cNvSpPr>
          <p:nvPr/>
        </p:nvSpPr>
        <p:spPr>
          <a:xfrm>
            <a:off x="3814763" y="1854081"/>
            <a:ext cx="4320246" cy="2133457"/>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Coût et Fret : Un terme d'expédition utilisé dans le commerce international où le vendeur paie le coût et le fret pour amener les marchandises au port de destination.</a:t>
            </a:r>
          </a:p>
          <a:p>
            <a:r>
              <a:t>Fonction de Réseau de Conteneurs : Une fonction de réseau mise en œuvre sous forme de microservice conteneurisé, généralement orchestrée par Kubernetes sur une infrastructure cloud.</a:t>
            </a:r>
          </a:p>
          <a:p>
            <a:r>
              <a:t>Forme Normale Conjunctive : Une forme standard en logique booléenne où une formule est exprimée comme un ET de OU.</a:t>
            </a:r>
          </a:p>
          <a:p>
            <a:r>
              <a:t>Nanofibre de Carbone : Un matériel composé d'atomes de carbone arrangés en une structure semblable à une fibre, utilisé dans diverses applications, y compris les composites et l'électronique.</a:t>
            </a:r>
          </a:p>
        </p:txBody>
      </p:sp>
      <p:grpSp>
        <p:nvGrpSpPr>
          <p:cNvPr id="6" name="Group 5">
            <a:extLst>
              <a:ext uri="{FF2B5EF4-FFF2-40B4-BE49-F238E27FC236}">
                <a16:creationId xmlns:a16="http://schemas.microsoft.com/office/drawing/2014/main" id="{859B5914-6B23-39D2-1F53-162B85D90A36}"/>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DD1523CC-0446-4022-B38E-EABBEA5B306A}"/>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8" name="Group 7">
              <a:extLst>
                <a:ext uri="{FF2B5EF4-FFF2-40B4-BE49-F238E27FC236}">
                  <a16:creationId xmlns:a16="http://schemas.microsoft.com/office/drawing/2014/main" id="{89E65D2F-2FF4-B80E-9800-D32B68A435F8}"/>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359298A2-8DE7-65EF-6347-B72FB4019FDC}"/>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0AFEC4F5-7BBE-11C0-4C66-68D793A90BE6}"/>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2" name="Freeform 11">
                <a:extLst>
                  <a:ext uri="{FF2B5EF4-FFF2-40B4-BE49-F238E27FC236}">
                    <a16:creationId xmlns:a16="http://schemas.microsoft.com/office/drawing/2014/main" id="{2859ED4E-2B5F-4534-8478-B01A18A56A15}"/>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9" name="Afbeelding 4">
              <a:extLst>
                <a:ext uri="{FF2B5EF4-FFF2-40B4-BE49-F238E27FC236}">
                  <a16:creationId xmlns:a16="http://schemas.microsoft.com/office/drawing/2014/main" id="{141C58AE-5E91-A3D0-39DC-123D78DB2458}"/>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23137406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5326C-9B1A-7FFB-6DD9-AFE54426AB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62D912-C4EF-A517-CAAA-97F2C8A74C7D}"/>
              </a:ext>
            </a:extLst>
          </p:cNvPr>
          <p:cNvSpPr>
            <a:spLocks noGrp="1"/>
          </p:cNvSpPr>
          <p:nvPr>
            <p:ph type="title"/>
          </p:nvPr>
        </p:nvSpPr>
        <p:spPr>
          <a:xfrm>
            <a:off x="1226990" y="377827"/>
            <a:ext cx="7455051" cy="660092"/>
          </a:xfrm>
        </p:spPr>
        <p:txBody>
          <a:bodyPr anchor="ctr"/>
          <a:lstStyle/>
          <a:p>
            <a:r>
              <a:t>Texte :</a:t>
            </a:r>
          </a:p>
          <a:p>
            <a:r>
              <a:t>Plateformes en 2025</a:t>
            </a:r>
          </a:p>
        </p:txBody>
      </p:sp>
      <p:sp>
        <p:nvSpPr>
          <p:cNvPr id="39" name="!!OVAL_network">
            <a:extLst>
              <a:ext uri="{FF2B5EF4-FFF2-40B4-BE49-F238E27FC236}">
                <a16:creationId xmlns:a16="http://schemas.microsoft.com/office/drawing/2014/main" id="{845A469B-0F6D-5231-E25C-2403C213FBE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sp>
        <p:nvSpPr>
          <p:cNvPr id="3" name="Text Placeholder 4">
            <a:extLst>
              <a:ext uri="{FF2B5EF4-FFF2-40B4-BE49-F238E27FC236}">
                <a16:creationId xmlns:a16="http://schemas.microsoft.com/office/drawing/2014/main" id="{D8D0C6FF-1133-D6C7-DE8A-FEDBF0F3FBB3}"/>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1</a:t>
            </a:r>
          </a:p>
          <a:p>
            <a:r>
              <a:t>Transformer et simplifier notre infrastructure de facturation en remplaçant le système de facturation en ligne pour une efficacité et une précision améliorées.</a:t>
            </a:r>
          </a:p>
        </p:txBody>
      </p:sp>
      <p:sp>
        <p:nvSpPr>
          <p:cNvPr id="4" name="Text Placeholder 4">
            <a:extLst>
              <a:ext uri="{FF2B5EF4-FFF2-40B4-BE49-F238E27FC236}">
                <a16:creationId xmlns:a16="http://schemas.microsoft.com/office/drawing/2014/main" id="{AB5552E8-F976-8F89-C145-D6E2B4C2DA94}"/>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Transformez nos capacités de communication avec une plateforme vocale modernisée et des bases de données d'abonnés pour une performance et une fiabilité supérieures.</a:t>
            </a:r>
          </a:p>
        </p:txBody>
      </p:sp>
      <p:sp>
        <p:nvSpPr>
          <p:cNvPr id="6" name="Text Placeholder 4">
            <a:extLst>
              <a:ext uri="{FF2B5EF4-FFF2-40B4-BE49-F238E27FC236}">
                <a16:creationId xmlns:a16="http://schemas.microsoft.com/office/drawing/2014/main" id="{C39D1268-6DF6-5B80-DF19-FB49587E96AE}"/>
              </a:ext>
            </a:extLst>
          </p:cNvPr>
          <p:cNvSpPr txBox="1">
            <a:spLocks/>
          </p:cNvSpPr>
          <p:nvPr/>
        </p:nvSpPr>
        <p:spPr>
          <a:xfrm>
            <a:off x="4684265"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Stabiliser radicalement et optimiser notre cœur de données mobiles avec une solution complète de pile de fournisseurs</a:t>
            </a:r>
          </a:p>
          <a:p>
            <a:r>
              <a:t>Prendre la tête du marché avec des services 5G de pointe tels que le slicing IoT, VoNR et la SIM 5G</a:t>
            </a:r>
          </a:p>
        </p:txBody>
      </p:sp>
      <p:sp>
        <p:nvSpPr>
          <p:cNvPr id="8" name="Text Placeholder 4">
            <a:extLst>
              <a:ext uri="{FF2B5EF4-FFF2-40B4-BE49-F238E27FC236}">
                <a16:creationId xmlns:a16="http://schemas.microsoft.com/office/drawing/2014/main" id="{3EA1E69F-9358-9D92-C5E7-F0A8D4AFA334}"/>
              </a:ext>
            </a:extLst>
          </p:cNvPr>
          <p:cNvSpPr txBox="1">
            <a:spLocks/>
          </p:cNvSpPr>
          <p:nvPr/>
        </p:nvSpPr>
        <p:spPr>
          <a:xfrm>
            <a:off x="6796210" y="2571750"/>
            <a:ext cx="1884240" cy="2864645"/>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4</a:t>
            </a:r>
          </a:p>
          <a:p>
            <a:r>
              <a:t>Améliorez la connectivité domestique avec les dernières solutions WiFi7 pour la maison et un modem câble pour une expérience Internet supérieure.</a:t>
            </a:r>
          </a:p>
        </p:txBody>
      </p:sp>
      <p:pic>
        <p:nvPicPr>
          <p:cNvPr id="11" name="Graphic 10">
            <a:extLst>
              <a:ext uri="{FF2B5EF4-FFF2-40B4-BE49-F238E27FC236}">
                <a16:creationId xmlns:a16="http://schemas.microsoft.com/office/drawing/2014/main" id="{03FD28A7-9733-F682-5C52-7A7068927A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825" y="599923"/>
            <a:ext cx="419100" cy="215900"/>
          </a:xfrm>
          <a:prstGeom prst="rect">
            <a:avLst/>
          </a:prstGeom>
        </p:spPr>
      </p:pic>
      <p:sp>
        <p:nvSpPr>
          <p:cNvPr id="5" name="Rounded Rectangle 4">
            <a:extLst>
              <a:ext uri="{FF2B5EF4-FFF2-40B4-BE49-F238E27FC236}">
                <a16:creationId xmlns:a16="http://schemas.microsoft.com/office/drawing/2014/main" id="{8F738587-65CA-CAA7-6C34-36B626056B28}"/>
              </a:ext>
            </a:extLst>
          </p:cNvPr>
          <p:cNvSpPr/>
          <p:nvPr/>
        </p:nvSpPr>
        <p:spPr>
          <a:xfrm>
            <a:off x="6805615" y="377827"/>
            <a:ext cx="1884240" cy="2015329"/>
          </a:xfrm>
          <a:prstGeom prst="roundRect">
            <a:avLst>
              <a:gd name="adj" fmla="val 10110"/>
            </a:avLst>
          </a:prstGeom>
          <a:blipFill>
            <a:blip r:embed="rId5"/>
            <a:srcRect/>
            <a:stretch>
              <a:fillRect l="-37374" r="-24102"/>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3069867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A02F9D1-9D51-3ABD-039E-FF5243A1BE2E}"/>
            </a:ext>
          </a:extLst>
        </p:cNvPr>
        <p:cNvGrpSpPr/>
        <p:nvPr/>
      </p:nvGrpSpPr>
      <p:grpSpPr>
        <a:xfrm>
          <a:off x="0" y="0"/>
          <a:ext cx="0" cy="0"/>
          <a:chOff x="0" y="0"/>
          <a:chExt cx="0" cy="0"/>
        </a:xfrm>
      </p:grpSpPr>
      <p:sp>
        <p:nvSpPr>
          <p:cNvPr id="35" name="Rounded Rectangle 34">
            <a:extLst>
              <a:ext uri="{FF2B5EF4-FFF2-40B4-BE49-F238E27FC236}">
                <a16:creationId xmlns:a16="http://schemas.microsoft.com/office/drawing/2014/main" id="{32F54917-5EAA-C800-4981-725D76A8D3A9}"/>
              </a:ext>
            </a:extLst>
          </p:cNvPr>
          <p:cNvSpPr/>
          <p:nvPr/>
        </p:nvSpPr>
        <p:spPr>
          <a:xfrm>
            <a:off x="0" y="0"/>
            <a:ext cx="1946341" cy="1181323"/>
          </a:xfrm>
          <a:prstGeom prst="roundRect">
            <a:avLst>
              <a:gd name="adj" fmla="val 9788"/>
            </a:avLst>
          </a:prstGeom>
          <a:blipFill>
            <a:blip r:embed="rId3"/>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6" name="Rounded Rectangle 35">
            <a:extLst>
              <a:ext uri="{FF2B5EF4-FFF2-40B4-BE49-F238E27FC236}">
                <a16:creationId xmlns:a16="http://schemas.microsoft.com/office/drawing/2014/main" id="{95D21A94-B386-A73F-439F-1E4765DA768E}"/>
              </a:ext>
            </a:extLst>
          </p:cNvPr>
          <p:cNvSpPr/>
          <p:nvPr/>
        </p:nvSpPr>
        <p:spPr>
          <a:xfrm>
            <a:off x="2123372" y="0"/>
            <a:ext cx="1946341" cy="1181323"/>
          </a:xfrm>
          <a:prstGeom prst="roundRect">
            <a:avLst>
              <a:gd name="adj" fmla="val 9788"/>
            </a:avLst>
          </a:prstGeom>
          <a:blipFill>
            <a:blip r:embed="rId4"/>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7" name="Rounded Rectangle 36">
            <a:extLst>
              <a:ext uri="{FF2B5EF4-FFF2-40B4-BE49-F238E27FC236}">
                <a16:creationId xmlns:a16="http://schemas.microsoft.com/office/drawing/2014/main" id="{601D592D-9359-A695-85E1-9482D5BCE06A}"/>
              </a:ext>
            </a:extLst>
          </p:cNvPr>
          <p:cNvSpPr/>
          <p:nvPr/>
        </p:nvSpPr>
        <p:spPr>
          <a:xfrm>
            <a:off x="4246744" y="0"/>
            <a:ext cx="1946341" cy="1181323"/>
          </a:xfrm>
          <a:prstGeom prst="roundRect">
            <a:avLst>
              <a:gd name="adj" fmla="val 9788"/>
            </a:avLst>
          </a:prstGeom>
          <a:blipFill>
            <a:blip r:embed="rId5"/>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8" name="Rounded Rectangle 37">
            <a:extLst>
              <a:ext uri="{FF2B5EF4-FFF2-40B4-BE49-F238E27FC236}">
                <a16:creationId xmlns:a16="http://schemas.microsoft.com/office/drawing/2014/main" id="{DBE8E80B-DB70-79DE-9399-49196073E9E7}"/>
              </a:ext>
            </a:extLst>
          </p:cNvPr>
          <p:cNvSpPr/>
          <p:nvPr/>
        </p:nvSpPr>
        <p:spPr>
          <a:xfrm>
            <a:off x="6370117" y="0"/>
            <a:ext cx="1946341" cy="1181323"/>
          </a:xfrm>
          <a:prstGeom prst="roundRect">
            <a:avLst>
              <a:gd name="adj" fmla="val 9788"/>
            </a:avLst>
          </a:prstGeom>
          <a:blipFill>
            <a:blip r:embed="rId6"/>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3" name="Rounded Rectangle 42">
            <a:extLst>
              <a:ext uri="{FF2B5EF4-FFF2-40B4-BE49-F238E27FC236}">
                <a16:creationId xmlns:a16="http://schemas.microsoft.com/office/drawing/2014/main" id="{D84C25CF-645B-1E69-ADFA-9615D3C141C4}"/>
              </a:ext>
            </a:extLst>
          </p:cNvPr>
          <p:cNvSpPr/>
          <p:nvPr/>
        </p:nvSpPr>
        <p:spPr>
          <a:xfrm>
            <a:off x="0" y="2641451"/>
            <a:ext cx="1946341" cy="1181323"/>
          </a:xfrm>
          <a:prstGeom prst="roundRect">
            <a:avLst>
              <a:gd name="adj" fmla="val 9788"/>
            </a:avLst>
          </a:prstGeom>
          <a:blipFill>
            <a:blip r:embed="rId7"/>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4" name="Rounded Rectangle 43">
            <a:extLst>
              <a:ext uri="{FF2B5EF4-FFF2-40B4-BE49-F238E27FC236}">
                <a16:creationId xmlns:a16="http://schemas.microsoft.com/office/drawing/2014/main" id="{7ADEE1F3-3D5F-F25C-E89B-25C68328C719}"/>
              </a:ext>
            </a:extLst>
          </p:cNvPr>
          <p:cNvSpPr/>
          <p:nvPr/>
        </p:nvSpPr>
        <p:spPr>
          <a:xfrm>
            <a:off x="2123372" y="2641451"/>
            <a:ext cx="1946341" cy="1181323"/>
          </a:xfrm>
          <a:prstGeom prst="roundRect">
            <a:avLst>
              <a:gd name="adj" fmla="val 9788"/>
            </a:avLst>
          </a:prstGeom>
          <a:blipFill>
            <a:blip r:embed="rId8"/>
            <a:srcRect/>
            <a:stretch>
              <a:fillRect t="-8953" b="-89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5" name="Rounded Rectangle 44">
            <a:extLst>
              <a:ext uri="{FF2B5EF4-FFF2-40B4-BE49-F238E27FC236}">
                <a16:creationId xmlns:a16="http://schemas.microsoft.com/office/drawing/2014/main" id="{5466EB42-22BD-B2BB-56E3-DA9DF6DF772B}"/>
              </a:ext>
            </a:extLst>
          </p:cNvPr>
          <p:cNvSpPr/>
          <p:nvPr/>
        </p:nvSpPr>
        <p:spPr>
          <a:xfrm>
            <a:off x="4246744" y="2641451"/>
            <a:ext cx="1946341" cy="1181323"/>
          </a:xfrm>
          <a:prstGeom prst="roundRect">
            <a:avLst>
              <a:gd name="adj" fmla="val 9788"/>
            </a:avLst>
          </a:prstGeom>
          <a:blipFill>
            <a:blip r:embed="rId9"/>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6" name="Rounded Rectangle 45">
            <a:extLst>
              <a:ext uri="{FF2B5EF4-FFF2-40B4-BE49-F238E27FC236}">
                <a16:creationId xmlns:a16="http://schemas.microsoft.com/office/drawing/2014/main" id="{2E4A59D7-6E7F-FB92-B6F0-187CFE9B5300}"/>
              </a:ext>
            </a:extLst>
          </p:cNvPr>
          <p:cNvSpPr/>
          <p:nvPr/>
        </p:nvSpPr>
        <p:spPr>
          <a:xfrm>
            <a:off x="6370117" y="2641451"/>
            <a:ext cx="1946341" cy="1181323"/>
          </a:xfrm>
          <a:prstGeom prst="roundRect">
            <a:avLst>
              <a:gd name="adj" fmla="val 9788"/>
            </a:avLst>
          </a:prstGeom>
          <a:blipFill>
            <a:blip r:embed="rId10"/>
            <a:srcRect/>
            <a:stretch>
              <a:fillRect t="-11785" b="-1178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2" name="Rounded Rectangle 51">
            <a:extLst>
              <a:ext uri="{FF2B5EF4-FFF2-40B4-BE49-F238E27FC236}">
                <a16:creationId xmlns:a16="http://schemas.microsoft.com/office/drawing/2014/main" id="{09CFA330-A4BA-9F21-DD56-29F4B7E48F1E}"/>
              </a:ext>
            </a:extLst>
          </p:cNvPr>
          <p:cNvSpPr/>
          <p:nvPr/>
        </p:nvSpPr>
        <p:spPr>
          <a:xfrm>
            <a:off x="8471140" y="0"/>
            <a:ext cx="1946341" cy="1181323"/>
          </a:xfrm>
          <a:prstGeom prst="roundRect">
            <a:avLst>
              <a:gd name="adj" fmla="val 9788"/>
            </a:avLst>
          </a:prstGeom>
          <a:blipFill>
            <a:blip r:embed="rId11"/>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3" name="Rounded Rectangle 52">
            <a:extLst>
              <a:ext uri="{FF2B5EF4-FFF2-40B4-BE49-F238E27FC236}">
                <a16:creationId xmlns:a16="http://schemas.microsoft.com/office/drawing/2014/main" id="{4DE0A4B6-EBD0-F328-98A5-3338B8EECD3F}"/>
              </a:ext>
            </a:extLst>
          </p:cNvPr>
          <p:cNvSpPr/>
          <p:nvPr/>
        </p:nvSpPr>
        <p:spPr>
          <a:xfrm>
            <a:off x="8471140" y="2641451"/>
            <a:ext cx="1946341" cy="1181323"/>
          </a:xfrm>
          <a:prstGeom prst="roundRect">
            <a:avLst>
              <a:gd name="adj" fmla="val 9788"/>
            </a:avLst>
          </a:prstGeom>
          <a:blipFill>
            <a:blip r:embed="rId12"/>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nvGrpSpPr>
          <p:cNvPr id="4" name="Group 3">
            <a:extLst>
              <a:ext uri="{FF2B5EF4-FFF2-40B4-BE49-F238E27FC236}">
                <a16:creationId xmlns:a16="http://schemas.microsoft.com/office/drawing/2014/main" id="{760FF810-9661-289F-38F5-147A3B25E4EF}"/>
              </a:ext>
            </a:extLst>
          </p:cNvPr>
          <p:cNvGrpSpPr/>
          <p:nvPr/>
        </p:nvGrpSpPr>
        <p:grpSpPr>
          <a:xfrm>
            <a:off x="-1040572" y="1320726"/>
            <a:ext cx="10417480" cy="1181323"/>
            <a:chOff x="-1066451" y="1320726"/>
            <a:chExt cx="10417480" cy="1181323"/>
          </a:xfrm>
        </p:grpSpPr>
        <p:sp>
          <p:nvSpPr>
            <p:cNvPr id="39" name="Rounded Rectangle 38">
              <a:extLst>
                <a:ext uri="{FF2B5EF4-FFF2-40B4-BE49-F238E27FC236}">
                  <a16:creationId xmlns:a16="http://schemas.microsoft.com/office/drawing/2014/main" id="{8643A259-60A9-B380-C22C-031A1C397C5A}"/>
                </a:ext>
              </a:extLst>
            </p:cNvPr>
            <p:cNvSpPr/>
            <p:nvPr/>
          </p:nvSpPr>
          <p:spPr>
            <a:xfrm>
              <a:off x="1034571" y="1320726"/>
              <a:ext cx="1946341" cy="1181323"/>
            </a:xfrm>
            <a:prstGeom prst="roundRect">
              <a:avLst>
                <a:gd name="adj" fmla="val 9788"/>
              </a:avLst>
            </a:prstGeom>
            <a:blipFill>
              <a:blip r:embed="rId13"/>
              <a:srcRect/>
              <a:stretch>
                <a:fillRect l="-3953" r="-39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0" name="Rounded Rectangle 39">
              <a:extLst>
                <a:ext uri="{FF2B5EF4-FFF2-40B4-BE49-F238E27FC236}">
                  <a16:creationId xmlns:a16="http://schemas.microsoft.com/office/drawing/2014/main" id="{9941E80D-A58E-4FF3-6702-3C93936CDBAE}"/>
                </a:ext>
              </a:extLst>
            </p:cNvPr>
            <p:cNvSpPr/>
            <p:nvPr/>
          </p:nvSpPr>
          <p:spPr>
            <a:xfrm>
              <a:off x="3157943" y="1320726"/>
              <a:ext cx="1946341" cy="1181323"/>
            </a:xfrm>
            <a:prstGeom prst="roundRect">
              <a:avLst>
                <a:gd name="adj" fmla="val 9788"/>
              </a:avLst>
            </a:prstGeom>
            <a:blipFill>
              <a:blip r:embed="rId14"/>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1" name="Rounded Rectangle 40">
              <a:extLst>
                <a:ext uri="{FF2B5EF4-FFF2-40B4-BE49-F238E27FC236}">
                  <a16:creationId xmlns:a16="http://schemas.microsoft.com/office/drawing/2014/main" id="{9014274D-6136-6798-A56B-37FB8D412642}"/>
                </a:ext>
              </a:extLst>
            </p:cNvPr>
            <p:cNvSpPr/>
            <p:nvPr/>
          </p:nvSpPr>
          <p:spPr>
            <a:xfrm>
              <a:off x="5281314" y="1320726"/>
              <a:ext cx="1946341" cy="1181323"/>
            </a:xfrm>
            <a:prstGeom prst="roundRect">
              <a:avLst>
                <a:gd name="adj" fmla="val 9788"/>
              </a:avLst>
            </a:prstGeom>
            <a:blipFill>
              <a:blip r:embed="rId15"/>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2" name="Rounded Rectangle 41">
              <a:extLst>
                <a:ext uri="{FF2B5EF4-FFF2-40B4-BE49-F238E27FC236}">
                  <a16:creationId xmlns:a16="http://schemas.microsoft.com/office/drawing/2014/main" id="{204514C5-DE85-2BE0-62C2-F5B756DC86D3}"/>
                </a:ext>
              </a:extLst>
            </p:cNvPr>
            <p:cNvSpPr/>
            <p:nvPr/>
          </p:nvSpPr>
          <p:spPr>
            <a:xfrm>
              <a:off x="7404688" y="1320726"/>
              <a:ext cx="1946341" cy="1181323"/>
            </a:xfrm>
            <a:prstGeom prst="roundRect">
              <a:avLst>
                <a:gd name="adj" fmla="val 9788"/>
              </a:avLst>
            </a:prstGeom>
            <a:blipFill>
              <a:blip r:embed="rId16"/>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4" name="Rounded Rectangle 53">
              <a:extLst>
                <a:ext uri="{FF2B5EF4-FFF2-40B4-BE49-F238E27FC236}">
                  <a16:creationId xmlns:a16="http://schemas.microsoft.com/office/drawing/2014/main" id="{775093F8-E358-CF0B-9567-9CD796CE0FE7}"/>
                </a:ext>
              </a:extLst>
            </p:cNvPr>
            <p:cNvSpPr/>
            <p:nvPr/>
          </p:nvSpPr>
          <p:spPr>
            <a:xfrm>
              <a:off x="-1066451" y="1320726"/>
              <a:ext cx="1946341" cy="1181323"/>
            </a:xfrm>
            <a:prstGeom prst="roundRect">
              <a:avLst>
                <a:gd name="adj" fmla="val 9788"/>
              </a:avLst>
            </a:prstGeom>
            <a:blipFill>
              <a:blip r:embed="rId17"/>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grpSp>
        <p:nvGrpSpPr>
          <p:cNvPr id="2" name="Group 1">
            <a:extLst>
              <a:ext uri="{FF2B5EF4-FFF2-40B4-BE49-F238E27FC236}">
                <a16:creationId xmlns:a16="http://schemas.microsoft.com/office/drawing/2014/main" id="{C83F4B47-A39C-D589-93D0-06F646DEB6B5}"/>
              </a:ext>
            </a:extLst>
          </p:cNvPr>
          <p:cNvGrpSpPr/>
          <p:nvPr/>
        </p:nvGrpSpPr>
        <p:grpSpPr>
          <a:xfrm>
            <a:off x="-1040572" y="3962177"/>
            <a:ext cx="10417480" cy="1181323"/>
            <a:chOff x="-1273481" y="3962177"/>
            <a:chExt cx="10417480" cy="1181323"/>
          </a:xfrm>
        </p:grpSpPr>
        <p:sp>
          <p:nvSpPr>
            <p:cNvPr id="47" name="Rounded Rectangle 46">
              <a:extLst>
                <a:ext uri="{FF2B5EF4-FFF2-40B4-BE49-F238E27FC236}">
                  <a16:creationId xmlns:a16="http://schemas.microsoft.com/office/drawing/2014/main" id="{DCCDDD92-1219-9296-ADA0-5D47D0E05447}"/>
                </a:ext>
              </a:extLst>
            </p:cNvPr>
            <p:cNvSpPr/>
            <p:nvPr/>
          </p:nvSpPr>
          <p:spPr>
            <a:xfrm>
              <a:off x="827541" y="3962177"/>
              <a:ext cx="1946341" cy="1181323"/>
            </a:xfrm>
            <a:prstGeom prst="roundRect">
              <a:avLst>
                <a:gd name="adj" fmla="val 9788"/>
              </a:avLst>
            </a:prstGeom>
            <a:blipFill>
              <a:blip r:embed="rId18"/>
              <a:srcRect/>
              <a:stretch>
                <a:fillRect t="-31825" b="-8785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8" name="Rounded Rectangle 47">
              <a:extLst>
                <a:ext uri="{FF2B5EF4-FFF2-40B4-BE49-F238E27FC236}">
                  <a16:creationId xmlns:a16="http://schemas.microsoft.com/office/drawing/2014/main" id="{CE80A14B-460A-E631-34AF-2639D7F0DDC3}"/>
                </a:ext>
              </a:extLst>
            </p:cNvPr>
            <p:cNvSpPr/>
            <p:nvPr/>
          </p:nvSpPr>
          <p:spPr>
            <a:xfrm>
              <a:off x="2950913" y="3962177"/>
              <a:ext cx="1946341" cy="1181323"/>
            </a:xfrm>
            <a:prstGeom prst="roundRect">
              <a:avLst>
                <a:gd name="adj" fmla="val 9788"/>
              </a:avLst>
            </a:prstGeom>
            <a:blipFill>
              <a:blip r:embed="rId19"/>
              <a:srcRect/>
              <a:stretch>
                <a:fillRect t="-4934" b="-4934"/>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9" name="Rounded Rectangle 48">
              <a:extLst>
                <a:ext uri="{FF2B5EF4-FFF2-40B4-BE49-F238E27FC236}">
                  <a16:creationId xmlns:a16="http://schemas.microsoft.com/office/drawing/2014/main" id="{38E28FC2-DABD-28BE-E837-119770C80B07}"/>
                </a:ext>
              </a:extLst>
            </p:cNvPr>
            <p:cNvSpPr/>
            <p:nvPr/>
          </p:nvSpPr>
          <p:spPr>
            <a:xfrm>
              <a:off x="5074284" y="3962177"/>
              <a:ext cx="1946341" cy="1181323"/>
            </a:xfrm>
            <a:prstGeom prst="roundRect">
              <a:avLst>
                <a:gd name="adj" fmla="val 9788"/>
              </a:avLst>
            </a:prstGeom>
            <a:blipFill>
              <a:blip r:embed="rId20"/>
              <a:srcRect/>
              <a:stretch>
                <a:fillRect t="-11785" b="-1178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0" name="Rounded Rectangle 49">
              <a:extLst>
                <a:ext uri="{FF2B5EF4-FFF2-40B4-BE49-F238E27FC236}">
                  <a16:creationId xmlns:a16="http://schemas.microsoft.com/office/drawing/2014/main" id="{4354E0FD-AFBD-BFA3-FB7C-5924E2E93D60}"/>
                </a:ext>
              </a:extLst>
            </p:cNvPr>
            <p:cNvSpPr/>
            <p:nvPr/>
          </p:nvSpPr>
          <p:spPr>
            <a:xfrm>
              <a:off x="7197658" y="3962177"/>
              <a:ext cx="1946341" cy="1181323"/>
            </a:xfrm>
            <a:prstGeom prst="roundRect">
              <a:avLst>
                <a:gd name="adj" fmla="val 9788"/>
              </a:avLst>
            </a:prstGeom>
            <a:blipFill>
              <a:blip r:embed="rId21"/>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5" name="Rounded Rectangle 54">
              <a:extLst>
                <a:ext uri="{FF2B5EF4-FFF2-40B4-BE49-F238E27FC236}">
                  <a16:creationId xmlns:a16="http://schemas.microsoft.com/office/drawing/2014/main" id="{A567BABE-5B69-65D2-A950-0A522A1E94C9}"/>
                </a:ext>
              </a:extLst>
            </p:cNvPr>
            <p:cNvSpPr/>
            <p:nvPr/>
          </p:nvSpPr>
          <p:spPr>
            <a:xfrm>
              <a:off x="-1273481" y="3962177"/>
              <a:ext cx="1946341" cy="1181323"/>
            </a:xfrm>
            <a:prstGeom prst="roundRect">
              <a:avLst>
                <a:gd name="adj" fmla="val 9788"/>
              </a:avLst>
            </a:prstGeom>
            <a:blipFill>
              <a:blip r:embed="rId22"/>
              <a:srcRect/>
              <a:stretch>
                <a:fillRect l="23933" t="-2363" r="-23933" b="-740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spTree>
    <p:extLst>
      <p:ext uri="{BB962C8B-B14F-4D97-AF65-F5344CB8AC3E}">
        <p14:creationId xmlns:p14="http://schemas.microsoft.com/office/powerpoint/2010/main" val="27057318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72957-344C-268E-8642-8F2FA1A29B1E}"/>
            </a:ext>
          </a:extLst>
        </p:cNvPr>
        <p:cNvGrpSpPr/>
        <p:nvPr/>
      </p:nvGrpSpPr>
      <p:grpSpPr>
        <a:xfrm>
          <a:off x="0" y="0"/>
          <a:ext cx="0" cy="0"/>
          <a:chOff x="0" y="0"/>
          <a:chExt cx="0" cy="0"/>
        </a:xfrm>
      </p:grpSpPr>
      <p:pic>
        <p:nvPicPr>
          <p:cNvPr id="2052" name="Picture 4" descr="Premium Photo | Telecommunication towers with radio antennas and ...">
            <a:extLst>
              <a:ext uri="{FF2B5EF4-FFF2-40B4-BE49-F238E27FC236}">
                <a16:creationId xmlns:a16="http://schemas.microsoft.com/office/drawing/2014/main" id="{419A7F56-6484-C721-0262-3818F710E065}"/>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l="33525" t="2067" r="859" b="47471"/>
          <a:stretch/>
        </p:blipFill>
        <p:spPr bwMode="auto">
          <a:xfrm>
            <a:off x="5837240" y="3417246"/>
            <a:ext cx="2850754" cy="1278579"/>
          </a:xfrm>
          <a:prstGeom prst="roundRect">
            <a:avLst>
              <a:gd name="adj" fmla="val 11317"/>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D60AA5B-AF71-7854-34E3-7BA61B230C94}"/>
              </a:ext>
            </a:extLst>
          </p:cNvPr>
          <p:cNvSpPr>
            <a:spLocks noGrp="1"/>
          </p:cNvSpPr>
          <p:nvPr>
            <p:ph type="title"/>
          </p:nvPr>
        </p:nvSpPr>
        <p:spPr>
          <a:xfrm>
            <a:off x="1226989" y="377826"/>
            <a:ext cx="7455051" cy="660092"/>
          </a:xfrm>
        </p:spPr>
        <p:txBody>
          <a:bodyPr anchor="ctr"/>
          <a:lstStyle/>
          <a:p>
            <a:r>
              <a:t>Texte:</a:t>
            </a:r>
          </a:p>
          <a:p>
            <a:r>
              <a:t>Monétisation des actifs de télécommunication</a:t>
            </a:r>
          </a:p>
        </p:txBody>
      </p:sp>
      <p:sp>
        <p:nvSpPr>
          <p:cNvPr id="39" name="!!OVAL_network">
            <a:extLst>
              <a:ext uri="{FF2B5EF4-FFF2-40B4-BE49-F238E27FC236}">
                <a16:creationId xmlns:a16="http://schemas.microsoft.com/office/drawing/2014/main" id="{D111696E-0065-FCD1-12A0-21169852AB96}"/>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3" name="Text Placeholder 4">
            <a:extLst>
              <a:ext uri="{FF2B5EF4-FFF2-40B4-BE49-F238E27FC236}">
                <a16:creationId xmlns:a16="http://schemas.microsoft.com/office/drawing/2014/main" id="{34724AFA-F66F-E2D0-7C33-206376F664F3}"/>
              </a:ext>
            </a:extLst>
          </p:cNvPr>
          <p:cNvSpPr txBox="1">
            <a:spLocks/>
          </p:cNvSpPr>
          <p:nvPr/>
        </p:nvSpPr>
        <p:spPr>
          <a:xfrm>
            <a:off x="5837240" y="2450478"/>
            <a:ext cx="2844800" cy="791502"/>
          </a:xfrm>
          <a:prstGeom prst="roundRect">
            <a:avLst>
              <a:gd name="adj" fmla="val 18463"/>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Autoservice numérique via des API</a:t>
            </a:r>
          </a:p>
        </p:txBody>
      </p:sp>
      <p:pic>
        <p:nvPicPr>
          <p:cNvPr id="5" name="Graphic 4">
            <a:extLst>
              <a:ext uri="{FF2B5EF4-FFF2-40B4-BE49-F238E27FC236}">
                <a16:creationId xmlns:a16="http://schemas.microsoft.com/office/drawing/2014/main" id="{53E5FED7-7474-549C-04DF-BC6A034400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696" y="488944"/>
            <a:ext cx="381000" cy="419100"/>
          </a:xfrm>
          <a:prstGeom prst="rect">
            <a:avLst/>
          </a:prstGeom>
        </p:spPr>
      </p:pic>
      <p:sp>
        <p:nvSpPr>
          <p:cNvPr id="11" name="Text Placeholder 4">
            <a:extLst>
              <a:ext uri="{FF2B5EF4-FFF2-40B4-BE49-F238E27FC236}">
                <a16:creationId xmlns:a16="http://schemas.microsoft.com/office/drawing/2014/main" id="{348B6AA9-B9E6-C798-4B9A-2DE28C49B479}"/>
              </a:ext>
            </a:extLst>
          </p:cNvPr>
          <p:cNvSpPr txBox="1">
            <a:spLocks/>
          </p:cNvSpPr>
          <p:nvPr/>
        </p:nvSpPr>
        <p:spPr>
          <a:xfrm>
            <a:off x="460375" y="3417246"/>
            <a:ext cx="2310842" cy="786694"/>
          </a:xfrm>
          <a:prstGeom prst="roundRect">
            <a:avLst>
              <a:gd name="adj" fmla="val 15778"/>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Virtualisation de réseau</a:t>
            </a:r>
          </a:p>
        </p:txBody>
      </p:sp>
      <p:sp>
        <p:nvSpPr>
          <p:cNvPr id="12" name="Text Placeholder 4">
            <a:extLst>
              <a:ext uri="{FF2B5EF4-FFF2-40B4-BE49-F238E27FC236}">
                <a16:creationId xmlns:a16="http://schemas.microsoft.com/office/drawing/2014/main" id="{DFCADBF7-0D70-140A-5B1A-5B2CA66A227D}"/>
              </a:ext>
            </a:extLst>
          </p:cNvPr>
          <p:cNvSpPr txBox="1">
            <a:spLocks/>
          </p:cNvSpPr>
          <p:nvPr/>
        </p:nvSpPr>
        <p:spPr>
          <a:xfrm>
            <a:off x="460376" y="2455286"/>
            <a:ext cx="2310842" cy="786694"/>
          </a:xfrm>
          <a:prstGeom prst="roundRect">
            <a:avLst>
              <a:gd name="adj" fmla="val 1793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Gestion des dispositifs de réseau physique en tant que service</a:t>
            </a:r>
          </a:p>
        </p:txBody>
      </p:sp>
      <p:sp>
        <p:nvSpPr>
          <p:cNvPr id="6" name="Text Placeholder 4">
            <a:extLst>
              <a:ext uri="{FF2B5EF4-FFF2-40B4-BE49-F238E27FC236}">
                <a16:creationId xmlns:a16="http://schemas.microsoft.com/office/drawing/2014/main" id="{0B842E65-D1E1-36A0-575C-E10EF9177FA4}"/>
              </a:ext>
            </a:extLst>
          </p:cNvPr>
          <p:cNvSpPr txBox="1">
            <a:spLocks/>
          </p:cNvSpPr>
          <p:nvPr/>
        </p:nvSpPr>
        <p:spPr>
          <a:xfrm>
            <a:off x="2976961" y="3417246"/>
            <a:ext cx="2310842" cy="786694"/>
          </a:xfrm>
          <a:prstGeom prst="roundRect">
            <a:avLst>
              <a:gd name="adj" fmla="val 16854"/>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Récupérer des informations du réseau</a:t>
            </a:r>
          </a:p>
        </p:txBody>
      </p:sp>
      <p:sp>
        <p:nvSpPr>
          <p:cNvPr id="14" name="Text Placeholder 4">
            <a:extLst>
              <a:ext uri="{FF2B5EF4-FFF2-40B4-BE49-F238E27FC236}">
                <a16:creationId xmlns:a16="http://schemas.microsoft.com/office/drawing/2014/main" id="{D4540A08-6E27-C723-35D0-5517138F27F8}"/>
              </a:ext>
            </a:extLst>
          </p:cNvPr>
          <p:cNvSpPr txBox="1">
            <a:spLocks/>
          </p:cNvSpPr>
          <p:nvPr/>
        </p:nvSpPr>
        <p:spPr>
          <a:xfrm>
            <a:off x="2976962" y="2455286"/>
            <a:ext cx="2310842" cy="786694"/>
          </a:xfrm>
          <a:prstGeom prst="roundRect">
            <a:avLst>
              <a:gd name="adj" fmla="val 1793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Réseau à la demande</a:t>
            </a:r>
          </a:p>
        </p:txBody>
      </p:sp>
      <p:sp>
        <p:nvSpPr>
          <p:cNvPr id="15" name="TextBox 10">
            <a:extLst>
              <a:ext uri="{FF2B5EF4-FFF2-40B4-BE49-F238E27FC236}">
                <a16:creationId xmlns:a16="http://schemas.microsoft.com/office/drawing/2014/main" id="{02D5F2D0-A83E-C06B-0BDA-C4046F4FB42C}"/>
              </a:ext>
            </a:extLst>
          </p:cNvPr>
          <p:cNvSpPr txBox="1"/>
          <p:nvPr/>
        </p:nvSpPr>
        <p:spPr>
          <a:xfrm>
            <a:off x="5837240" y="1508835"/>
            <a:ext cx="2844800" cy="502636"/>
          </a:xfrm>
          <a:prstGeom prst="roundRect">
            <a:avLst>
              <a:gd name="adj" fmla="val 26910"/>
            </a:avLst>
          </a:prstGeom>
          <a:gradFill>
            <a:gsLst>
              <a:gs pos="0">
                <a:srgbClr val="5C2D91"/>
              </a:gs>
              <a:gs pos="99000">
                <a:schemeClr val="accent4"/>
              </a:gs>
            </a:gsLst>
            <a:lin ang="0" scaled="0"/>
          </a:grad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r>
              <a:t>Texte :</a:t>
            </a:r>
          </a:p>
          <a:p>
            <a:r>
              <a:t>Expérience client améliorée</a:t>
            </a:r>
          </a:p>
        </p:txBody>
      </p:sp>
      <p:sp>
        <p:nvSpPr>
          <p:cNvPr id="16" name="TextBox 10">
            <a:extLst>
              <a:ext uri="{FF2B5EF4-FFF2-40B4-BE49-F238E27FC236}">
                <a16:creationId xmlns:a16="http://schemas.microsoft.com/office/drawing/2014/main" id="{F028B540-EA17-CCC8-8C7A-472EE6EE0316}"/>
              </a:ext>
            </a:extLst>
          </p:cNvPr>
          <p:cNvSpPr txBox="1"/>
          <p:nvPr/>
        </p:nvSpPr>
        <p:spPr>
          <a:xfrm>
            <a:off x="462196" y="1528270"/>
            <a:ext cx="4848003" cy="502636"/>
          </a:xfrm>
          <a:prstGeom prst="roundRect">
            <a:avLst>
              <a:gd name="adj" fmla="val 27511"/>
            </a:avLst>
          </a:prstGeom>
          <a:gradFill>
            <a:gsLst>
              <a:gs pos="0">
                <a:srgbClr val="5C2D91"/>
              </a:gs>
              <a:gs pos="99000">
                <a:schemeClr val="accent4"/>
              </a:gs>
            </a:gsLst>
            <a:lin ang="0" scaled="0"/>
          </a:grad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r>
              <a:t>Texte :</a:t>
            </a:r>
          </a:p>
          <a:p>
            <a:r>
              <a:t>Nouvelles opportunités commerciales</a:t>
            </a:r>
          </a:p>
        </p:txBody>
      </p:sp>
      <p:pic>
        <p:nvPicPr>
          <p:cNvPr id="17" name="Graphic 16">
            <a:extLst>
              <a:ext uri="{FF2B5EF4-FFF2-40B4-BE49-F238E27FC236}">
                <a16:creationId xmlns:a16="http://schemas.microsoft.com/office/drawing/2014/main" id="{6C11E653-D26C-B626-D58A-516F32AEB83D}"/>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rot="5400000">
            <a:off x="7196248" y="2128302"/>
            <a:ext cx="126784" cy="205744"/>
          </a:xfrm>
          <a:prstGeom prst="rect">
            <a:avLst/>
          </a:prstGeom>
        </p:spPr>
      </p:pic>
      <p:pic>
        <p:nvPicPr>
          <p:cNvPr id="18" name="Graphic 17">
            <a:extLst>
              <a:ext uri="{FF2B5EF4-FFF2-40B4-BE49-F238E27FC236}">
                <a16:creationId xmlns:a16="http://schemas.microsoft.com/office/drawing/2014/main" id="{55DB6510-710C-ED47-4146-37F136F90096}"/>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rot="5400000">
            <a:off x="2822805" y="2128302"/>
            <a:ext cx="126784" cy="205744"/>
          </a:xfrm>
          <a:prstGeom prst="rect">
            <a:avLst/>
          </a:prstGeom>
        </p:spPr>
      </p:pic>
      <p:pic>
        <p:nvPicPr>
          <p:cNvPr id="19" name="customer first">
            <a:extLst>
              <a:ext uri="{FF2B5EF4-FFF2-40B4-BE49-F238E27FC236}">
                <a16:creationId xmlns:a16="http://schemas.microsoft.com/office/drawing/2014/main" id="{61277B3F-95E8-1684-0E0F-24FD0B83B1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75487" y="1583772"/>
            <a:ext cx="185008" cy="334777"/>
          </a:xfrm>
          <a:prstGeom prst="rect">
            <a:avLst/>
          </a:prstGeom>
        </p:spPr>
      </p:pic>
      <p:pic>
        <p:nvPicPr>
          <p:cNvPr id="20" name="accountability">
            <a:extLst>
              <a:ext uri="{FF2B5EF4-FFF2-40B4-BE49-F238E27FC236}">
                <a16:creationId xmlns:a16="http://schemas.microsoft.com/office/drawing/2014/main" id="{24C519C7-A6B7-E005-870B-F34223559E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12492" y="1623710"/>
            <a:ext cx="299260" cy="291385"/>
          </a:xfrm>
          <a:prstGeom prst="rect">
            <a:avLst/>
          </a:prstGeom>
        </p:spPr>
      </p:pic>
      <p:sp>
        <p:nvSpPr>
          <p:cNvPr id="21" name="Title 31">
            <a:extLst>
              <a:ext uri="{FF2B5EF4-FFF2-40B4-BE49-F238E27FC236}">
                <a16:creationId xmlns:a16="http://schemas.microsoft.com/office/drawing/2014/main" id="{AFC31FF0-7DF9-9663-8E1F-364165D1C26B}"/>
              </a:ext>
            </a:extLst>
          </p:cNvPr>
          <p:cNvSpPr txBox="1">
            <a:spLocks/>
          </p:cNvSpPr>
          <p:nvPr/>
        </p:nvSpPr>
        <p:spPr>
          <a:xfrm>
            <a:off x="1226989" y="1031871"/>
            <a:ext cx="7453461" cy="496399"/>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NBU se transforme en le principal fournisseur de NaaS en Belgique.</a:t>
            </a:r>
          </a:p>
        </p:txBody>
      </p:sp>
    </p:spTree>
    <p:extLst>
      <p:ext uri="{BB962C8B-B14F-4D97-AF65-F5344CB8AC3E}">
        <p14:creationId xmlns:p14="http://schemas.microsoft.com/office/powerpoint/2010/main" val="27124193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DA230-43BD-E407-D548-76F73D9A4056}"/>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601F0F9D-08E3-F8F5-743F-CA7F75B664AD}"/>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1</a:t>
            </a:r>
          </a:p>
          <a:p>
            <a:r>
              <a:t>Lancement de la nouvelle connectivité Ethernet Carrier (eAccess)</a:t>
            </a:r>
          </a:p>
          <a:p>
            <a:r>
              <a:t>Devis et commandes via des API standard de l'industrie (API MEF LSO)</a:t>
            </a:r>
          </a:p>
        </p:txBody>
      </p:sp>
      <p:sp>
        <p:nvSpPr>
          <p:cNvPr id="4" name="Text Placeholder 4">
            <a:extLst>
              <a:ext uri="{FF2B5EF4-FFF2-40B4-BE49-F238E27FC236}">
                <a16:creationId xmlns:a16="http://schemas.microsoft.com/office/drawing/2014/main" id="{4F53A001-66AD-AD1A-828E-550677C6869F}"/>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Lancement d'un uCPE universel virtualisant plusieurs fonctions réseau sur un seul matériel</a:t>
            </a:r>
          </a:p>
          <a:p>
            <a:r>
              <a:t>et Marketplace pour commander et déployer des Fonctions Réseau Virtuelles</a:t>
            </a:r>
          </a:p>
        </p:txBody>
      </p:sp>
      <p:sp>
        <p:nvSpPr>
          <p:cNvPr id="2" name="Title 1">
            <a:extLst>
              <a:ext uri="{FF2B5EF4-FFF2-40B4-BE49-F238E27FC236}">
                <a16:creationId xmlns:a16="http://schemas.microsoft.com/office/drawing/2014/main" id="{5BC7DE9B-B7EB-130D-A779-F5D2965B16E7}"/>
              </a:ext>
            </a:extLst>
          </p:cNvPr>
          <p:cNvSpPr>
            <a:spLocks noGrp="1"/>
          </p:cNvSpPr>
          <p:nvPr>
            <p:ph type="title"/>
          </p:nvPr>
        </p:nvSpPr>
        <p:spPr>
          <a:xfrm>
            <a:off x="1226989" y="377826"/>
            <a:ext cx="7455051" cy="660092"/>
          </a:xfrm>
        </p:spPr>
        <p:txBody>
          <a:bodyPr anchor="ctr"/>
          <a:lstStyle/>
          <a:p>
            <a:r>
              <a:t>Texte:</a:t>
            </a:r>
          </a:p>
          <a:p>
            <a:r>
              <a:t>Monétisation des actifs de télécommunication en 2025</a:t>
            </a:r>
          </a:p>
        </p:txBody>
      </p:sp>
      <p:sp>
        <p:nvSpPr>
          <p:cNvPr id="39" name="!!OVAL_network">
            <a:extLst>
              <a:ext uri="{FF2B5EF4-FFF2-40B4-BE49-F238E27FC236}">
                <a16:creationId xmlns:a16="http://schemas.microsoft.com/office/drawing/2014/main" id="{A4D46C15-8247-5039-E0A6-1F0806302523}"/>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7" name="Text Placeholder 4">
            <a:extLst>
              <a:ext uri="{FF2B5EF4-FFF2-40B4-BE49-F238E27FC236}">
                <a16:creationId xmlns:a16="http://schemas.microsoft.com/office/drawing/2014/main" id="{FDE0ACF3-38D4-F45B-083A-7EAE77171D24}"/>
              </a:ext>
            </a:extLst>
          </p:cNvPr>
          <p:cNvSpPr txBox="1">
            <a:spLocks/>
          </p:cNvSpPr>
          <p:nvPr/>
        </p:nvSpPr>
        <p:spPr>
          <a:xfrm>
            <a:off x="4694677"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Développer un POC pour des cas d'utilisation de réseau à la demande</a:t>
            </a:r>
          </a:p>
        </p:txBody>
      </p:sp>
      <p:sp>
        <p:nvSpPr>
          <p:cNvPr id="8" name="Text Placeholder 4">
            <a:extLst>
              <a:ext uri="{FF2B5EF4-FFF2-40B4-BE49-F238E27FC236}">
                <a16:creationId xmlns:a16="http://schemas.microsoft.com/office/drawing/2014/main" id="{44DD251B-A837-1A42-64C6-919D01E3E2B6}"/>
              </a:ext>
            </a:extLst>
          </p:cNvPr>
          <p:cNvSpPr txBox="1">
            <a:spLocks/>
          </p:cNvSpPr>
          <p:nvPr/>
        </p:nvSpPr>
        <p:spPr>
          <a:xfrm>
            <a:off x="6796210" y="1387107"/>
            <a:ext cx="1884240" cy="2015329"/>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72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4</a:t>
            </a:r>
          </a:p>
          <a:p>
            <a:r>
              <a:t>Fournir des API standard de l'industrie pour récupérer des informations réseau</a:t>
            </a:r>
          </a:p>
        </p:txBody>
      </p:sp>
      <p:pic>
        <p:nvPicPr>
          <p:cNvPr id="11" name="Graphic 10">
            <a:extLst>
              <a:ext uri="{FF2B5EF4-FFF2-40B4-BE49-F238E27FC236}">
                <a16:creationId xmlns:a16="http://schemas.microsoft.com/office/drawing/2014/main" id="{868219CB-F8CF-578A-CBB8-B08F0FAD79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696" y="488944"/>
            <a:ext cx="381000" cy="419100"/>
          </a:xfrm>
          <a:prstGeom prst="rect">
            <a:avLst/>
          </a:prstGeom>
        </p:spPr>
      </p:pic>
      <p:pic>
        <p:nvPicPr>
          <p:cNvPr id="1026" name="Picture 2" descr="Mef Logos">
            <a:extLst>
              <a:ext uri="{FF2B5EF4-FFF2-40B4-BE49-F238E27FC236}">
                <a16:creationId xmlns:a16="http://schemas.microsoft.com/office/drawing/2014/main" id="{5BA7F970-F186-4A6D-9114-C7644CC79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5146" y="4103409"/>
            <a:ext cx="614698" cy="368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0A2C96EE-EE2E-B1D8-473A-A4FBACBFA93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16" t="27745" r="13459" b="29158"/>
          <a:stretch/>
        </p:blipFill>
        <p:spPr bwMode="auto">
          <a:xfrm>
            <a:off x="2979386" y="4020579"/>
            <a:ext cx="1165437" cy="533959"/>
          </a:xfrm>
          <a:prstGeom prst="rect">
            <a:avLst/>
          </a:prstGeom>
          <a:noFill/>
          <a:extLst>
            <a:ext uri="{909E8E84-426E-40DD-AFC4-6F175D3DCCD1}">
              <a14:hiddenFill xmlns:a14="http://schemas.microsoft.com/office/drawing/2010/main">
                <a:solidFill>
                  <a:srgbClr val="FFFFFF"/>
                </a:solidFill>
              </a14:hiddenFill>
            </a:ext>
          </a:extLst>
        </p:spPr>
      </p:pic>
      <p:pic>
        <p:nvPicPr>
          <p:cNvPr id="22" name="Graphic 21">
            <a:extLst>
              <a:ext uri="{FF2B5EF4-FFF2-40B4-BE49-F238E27FC236}">
                <a16:creationId xmlns:a16="http://schemas.microsoft.com/office/drawing/2014/main" id="{1C65B232-5C45-3072-B9A3-AA0BA01590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34230" y="4119979"/>
            <a:ext cx="605134" cy="351730"/>
          </a:xfrm>
          <a:prstGeom prst="rect">
            <a:avLst/>
          </a:prstGeom>
        </p:spPr>
      </p:pic>
      <p:sp>
        <p:nvSpPr>
          <p:cNvPr id="5" name="Rounded Rectangle 4">
            <a:extLst>
              <a:ext uri="{FF2B5EF4-FFF2-40B4-BE49-F238E27FC236}">
                <a16:creationId xmlns:a16="http://schemas.microsoft.com/office/drawing/2014/main" id="{7861C424-9231-BBFD-B710-3EE29C46F9DE}"/>
              </a:ext>
            </a:extLst>
          </p:cNvPr>
          <p:cNvSpPr/>
          <p:nvPr/>
        </p:nvSpPr>
        <p:spPr>
          <a:xfrm>
            <a:off x="6805615" y="3623073"/>
            <a:ext cx="1884240" cy="2015329"/>
          </a:xfrm>
          <a:prstGeom prst="roundRect">
            <a:avLst>
              <a:gd name="adj" fmla="val 10110"/>
            </a:avLst>
          </a:prstGeom>
          <a:blipFill>
            <a:blip r:embed="rId9"/>
            <a:srcRect/>
            <a:stretch>
              <a:fillRect l="-26931" r="-32638" b="182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12232426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E2F2C-66BD-45D9-1DA0-33B9629831B0}"/>
            </a:ext>
          </a:extLst>
        </p:cNvPr>
        <p:cNvGrpSpPr/>
        <p:nvPr/>
      </p:nvGrpSpPr>
      <p:grpSpPr>
        <a:xfrm>
          <a:off x="0" y="0"/>
          <a:ext cx="0" cy="0"/>
          <a:chOff x="0" y="0"/>
          <a:chExt cx="0" cy="0"/>
        </a:xfrm>
      </p:grpSpPr>
      <p:pic>
        <p:nvPicPr>
          <p:cNvPr id="7" name="Picture 6" descr="A person and person sitting on a table&#10;&#10;Description automatically generated">
            <a:extLst>
              <a:ext uri="{FF2B5EF4-FFF2-40B4-BE49-F238E27FC236}">
                <a16:creationId xmlns:a16="http://schemas.microsoft.com/office/drawing/2014/main" id="{BCB0F500-690E-C7FA-1286-132084E33757}"/>
              </a:ext>
            </a:extLst>
          </p:cNvPr>
          <p:cNvPicPr>
            <a:picLocks noChangeAspect="1"/>
          </p:cNvPicPr>
          <p:nvPr/>
        </p:nvPicPr>
        <p:blipFill>
          <a:blip r:embed="rId3"/>
          <a:stretch>
            <a:fillRect/>
          </a:stretch>
        </p:blipFill>
        <p:spPr>
          <a:xfrm>
            <a:off x="0" y="0"/>
            <a:ext cx="9144000" cy="5143500"/>
          </a:xfrm>
          <a:prstGeom prst="rect">
            <a:avLst/>
          </a:prstGeom>
        </p:spPr>
      </p:pic>
      <p:pic>
        <p:nvPicPr>
          <p:cNvPr id="10" name="Graphic 9">
            <a:extLst>
              <a:ext uri="{FF2B5EF4-FFF2-40B4-BE49-F238E27FC236}">
                <a16:creationId xmlns:a16="http://schemas.microsoft.com/office/drawing/2014/main" id="{5FD2830C-C394-3E68-1542-8FB4694E91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1246585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881C94B-083C-2EC3-43E1-0A71933978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170B4C-1B47-977D-6FA8-C21F0B20D7E9}"/>
              </a:ext>
            </a:extLst>
          </p:cNvPr>
          <p:cNvSpPr>
            <a:spLocks noGrp="1"/>
          </p:cNvSpPr>
          <p:nvPr>
            <p:ph type="title"/>
          </p:nvPr>
        </p:nvSpPr>
        <p:spPr>
          <a:xfrm>
            <a:off x="1226989" y="377826"/>
            <a:ext cx="7455051" cy="660092"/>
          </a:xfrm>
        </p:spPr>
        <p:txBody>
          <a:bodyPr anchor="ctr"/>
          <a:lstStyle/>
          <a:p>
            <a:r>
              <a:t>Texte :</a:t>
            </a:r>
          </a:p>
          <a:p>
            <a:r>
              <a:t>Durabilité (accent sur l'énergie)</a:t>
            </a:r>
          </a:p>
        </p:txBody>
      </p:sp>
      <p:sp>
        <p:nvSpPr>
          <p:cNvPr id="39" name="!!OVAL_network">
            <a:extLst>
              <a:ext uri="{FF2B5EF4-FFF2-40B4-BE49-F238E27FC236}">
                <a16:creationId xmlns:a16="http://schemas.microsoft.com/office/drawing/2014/main" id="{08ADDA53-0EEB-1439-35A2-6F9B5329E0DA}"/>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sp>
        <p:nvSpPr>
          <p:cNvPr id="4" name="Text Placeholder 4">
            <a:extLst>
              <a:ext uri="{FF2B5EF4-FFF2-40B4-BE49-F238E27FC236}">
                <a16:creationId xmlns:a16="http://schemas.microsoft.com/office/drawing/2014/main" id="{2FA650BB-B0D3-582C-BD87-F175A7D0B6B0}"/>
              </a:ext>
            </a:extLst>
          </p:cNvPr>
          <p:cNvSpPr txBox="1">
            <a:spLocks/>
          </p:cNvSpPr>
          <p:nvPr/>
        </p:nvSpPr>
        <p:spPr>
          <a:xfrm>
            <a:off x="1878620" y="1276213"/>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Plus de 90 % de notre consommation d'énergie chez Proximus SA provient de l'électricité.</a:t>
            </a:r>
          </a:p>
        </p:txBody>
      </p:sp>
      <p:sp>
        <p:nvSpPr>
          <p:cNvPr id="6" name="Text Placeholder 4">
            <a:extLst>
              <a:ext uri="{FF2B5EF4-FFF2-40B4-BE49-F238E27FC236}">
                <a16:creationId xmlns:a16="http://schemas.microsoft.com/office/drawing/2014/main" id="{DD77EF94-B5D2-B9E3-0628-6C28B33FFA99}"/>
              </a:ext>
            </a:extLst>
          </p:cNvPr>
          <p:cNvSpPr txBox="1">
            <a:spLocks/>
          </p:cNvSpPr>
          <p:nvPr/>
        </p:nvSpPr>
        <p:spPr>
          <a:xfrm>
            <a:off x="4746810" y="1276213"/>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Nous dépenserons presque </a:t>
            </a:r>
            <a:br/>
            <a:r>
              <a:t>80 millions d'euros </a:t>
            </a:r>
            <a:br/>
            <a:r>
              <a:t>en électricité en 2025. </a:t>
            </a:r>
            <a:br/>
            <a:r>
              <a:t>86 % de cette consommation sera attribuée à NBU.</a:t>
            </a:r>
          </a:p>
        </p:txBody>
      </p:sp>
      <p:sp>
        <p:nvSpPr>
          <p:cNvPr id="7" name="Text Placeholder 4">
            <a:extLst>
              <a:ext uri="{FF2B5EF4-FFF2-40B4-BE49-F238E27FC236}">
                <a16:creationId xmlns:a16="http://schemas.microsoft.com/office/drawing/2014/main" id="{2DBC8381-27AF-3A3B-6020-5E6CB5CCB572}"/>
              </a:ext>
            </a:extLst>
          </p:cNvPr>
          <p:cNvSpPr txBox="1">
            <a:spLocks/>
          </p:cNvSpPr>
          <p:nvPr/>
        </p:nvSpPr>
        <p:spPr>
          <a:xfrm>
            <a:off x="1878620" y="3052385"/>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Depuis 2019, nous utilisons 100% </a:t>
            </a:r>
          </a:p>
          <a:p>
            <a:r>
              <a:t>d'électricité renouvelable</a:t>
            </a:r>
          </a:p>
        </p:txBody>
      </p:sp>
      <p:sp>
        <p:nvSpPr>
          <p:cNvPr id="8" name="Text Placeholder 4">
            <a:extLst>
              <a:ext uri="{FF2B5EF4-FFF2-40B4-BE49-F238E27FC236}">
                <a16:creationId xmlns:a16="http://schemas.microsoft.com/office/drawing/2014/main" id="{45E1ED76-107E-2E4D-2C9C-CEE21132D6F4}"/>
              </a:ext>
            </a:extLst>
          </p:cNvPr>
          <p:cNvSpPr txBox="1">
            <a:spLocks/>
          </p:cNvSpPr>
          <p:nvPr/>
        </p:nvSpPr>
        <p:spPr>
          <a:xfrm>
            <a:off x="4746809" y="3052385"/>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64 bâtiments Proximus sont déjà équipés de panneaux solaires et ont un rendement annuel de 1,7 GWh</a:t>
            </a:r>
          </a:p>
        </p:txBody>
      </p:sp>
      <p:pic>
        <p:nvPicPr>
          <p:cNvPr id="9" name="Graphic 8">
            <a:extLst>
              <a:ext uri="{FF2B5EF4-FFF2-40B4-BE49-F238E27FC236}">
                <a16:creationId xmlns:a16="http://schemas.microsoft.com/office/drawing/2014/main" id="{CFB13A2D-D0BA-4593-415D-61C94493AC5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7986" y="517372"/>
            <a:ext cx="352777" cy="381000"/>
          </a:xfrm>
          <a:prstGeom prst="rect">
            <a:avLst/>
          </a:prstGeom>
        </p:spPr>
      </p:pic>
      <p:sp>
        <p:nvSpPr>
          <p:cNvPr id="3" name="Rounded Rectangle 2">
            <a:extLst>
              <a:ext uri="{FF2B5EF4-FFF2-40B4-BE49-F238E27FC236}">
                <a16:creationId xmlns:a16="http://schemas.microsoft.com/office/drawing/2014/main" id="{A2836CDF-5F43-36B2-9E56-B900DE8858E5}"/>
              </a:ext>
            </a:extLst>
          </p:cNvPr>
          <p:cNvSpPr/>
          <p:nvPr/>
        </p:nvSpPr>
        <p:spPr>
          <a:xfrm>
            <a:off x="7539361" y="1276213"/>
            <a:ext cx="2285358" cy="3249737"/>
          </a:xfrm>
          <a:prstGeom prst="roundRect">
            <a:avLst>
              <a:gd name="adj" fmla="val 8336"/>
            </a:avLst>
          </a:prstGeom>
          <a:blipFill>
            <a:blip r:embed="rId5"/>
            <a:srcRect/>
            <a:stretch>
              <a:fillRect l="-110785" r="2118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13" name="Rounded Rectangle 12">
            <a:extLst>
              <a:ext uri="{FF2B5EF4-FFF2-40B4-BE49-F238E27FC236}">
                <a16:creationId xmlns:a16="http://schemas.microsoft.com/office/drawing/2014/main" id="{ACE0E911-E399-E676-4FE6-69ADFA6AE2EA}"/>
              </a:ext>
            </a:extLst>
          </p:cNvPr>
          <p:cNvSpPr/>
          <p:nvPr/>
        </p:nvSpPr>
        <p:spPr>
          <a:xfrm>
            <a:off x="-676556" y="1276213"/>
            <a:ext cx="2285358" cy="3249737"/>
          </a:xfrm>
          <a:prstGeom prst="roundRect">
            <a:avLst>
              <a:gd name="adj" fmla="val 8336"/>
            </a:avLst>
          </a:prstGeom>
          <a:blipFill>
            <a:blip r:embed="rId5"/>
            <a:srcRect/>
            <a:stretch>
              <a:fillRect l="24949" r="-11454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2996827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FCF40-36C0-6224-D8FC-9EC2A52ACC8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1B5DA95-A321-5EDE-7983-4E687BF22D86}"/>
              </a:ext>
            </a:extLst>
          </p:cNvPr>
          <p:cNvSpPr txBox="1">
            <a:spLocks/>
          </p:cNvSpPr>
          <p:nvPr/>
        </p:nvSpPr>
        <p:spPr>
          <a:xfrm>
            <a:off x="460375" y="1393459"/>
            <a:ext cx="1884240" cy="247862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1</a:t>
            </a:r>
          </a:p>
          <a:p>
            <a:r>
              <a:t>Programme Watt’s Up pour réduire la consommation d'énergie à travers les réseaux, les centres de données et les bâtiments</a:t>
            </a:r>
          </a:p>
        </p:txBody>
      </p:sp>
      <p:sp>
        <p:nvSpPr>
          <p:cNvPr id="6" name="Text Placeholder 4">
            <a:extLst>
              <a:ext uri="{FF2B5EF4-FFF2-40B4-BE49-F238E27FC236}">
                <a16:creationId xmlns:a16="http://schemas.microsoft.com/office/drawing/2014/main" id="{E67DE9DB-DBA0-1081-2566-70949B6B3E99}"/>
              </a:ext>
            </a:extLst>
          </p:cNvPr>
          <p:cNvSpPr txBox="1">
            <a:spLocks/>
          </p:cNvSpPr>
          <p:nvPr/>
        </p:nvSpPr>
        <p:spPr>
          <a:xfrm>
            <a:off x="2572320" y="1387107"/>
            <a:ext cx="1884240" cy="2484982"/>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Accélérer la suppression du cuivre et l'adoption de la fibre, et étendre le partage de réseau pour réduire les empreintes énergétiques et carbone</a:t>
            </a:r>
          </a:p>
        </p:txBody>
      </p:sp>
      <p:sp>
        <p:nvSpPr>
          <p:cNvPr id="8" name="Text Placeholder 4">
            <a:extLst>
              <a:ext uri="{FF2B5EF4-FFF2-40B4-BE49-F238E27FC236}">
                <a16:creationId xmlns:a16="http://schemas.microsoft.com/office/drawing/2014/main" id="{BF7A3E6C-5704-1AFA-3D03-412A4F092E02}"/>
              </a:ext>
            </a:extLst>
          </p:cNvPr>
          <p:cNvSpPr txBox="1">
            <a:spLocks/>
          </p:cNvSpPr>
          <p:nvPr/>
        </p:nvSpPr>
        <p:spPr>
          <a:xfrm>
            <a:off x="4684265" y="1387108"/>
            <a:ext cx="1884240" cy="2484982"/>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3</a:t>
            </a:r>
          </a:p>
          <a:p>
            <a:r>
              <a:t>Explorez les opportunités de réduction des coûts et de revenus à travers une POC en direct sur les marchés de la flexibilité énergétique</a:t>
            </a:r>
          </a:p>
        </p:txBody>
      </p:sp>
      <p:sp>
        <p:nvSpPr>
          <p:cNvPr id="9" name="Text Placeholder 4">
            <a:extLst>
              <a:ext uri="{FF2B5EF4-FFF2-40B4-BE49-F238E27FC236}">
                <a16:creationId xmlns:a16="http://schemas.microsoft.com/office/drawing/2014/main" id="{AF9CF111-F4FC-4928-0526-9D8DEE6879F4}"/>
              </a:ext>
            </a:extLst>
          </p:cNvPr>
          <p:cNvSpPr txBox="1">
            <a:spLocks/>
          </p:cNvSpPr>
          <p:nvPr/>
        </p:nvSpPr>
        <p:spPr>
          <a:xfrm>
            <a:off x="6799385" y="1387106"/>
            <a:ext cx="1884240" cy="248498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4</a:t>
            </a:r>
          </a:p>
          <a:p>
            <a:r>
              <a:t>Maintenir un mix de 100 % d'énergie renouvelable et de production propre de panneaux solaires</a:t>
            </a:r>
          </a:p>
        </p:txBody>
      </p:sp>
      <p:sp>
        <p:nvSpPr>
          <p:cNvPr id="12" name="Title 1">
            <a:extLst>
              <a:ext uri="{FF2B5EF4-FFF2-40B4-BE49-F238E27FC236}">
                <a16:creationId xmlns:a16="http://schemas.microsoft.com/office/drawing/2014/main" id="{87EAF127-7396-F1AB-0992-3ECD11BA7F10}"/>
              </a:ext>
            </a:extLst>
          </p:cNvPr>
          <p:cNvSpPr>
            <a:spLocks noGrp="1"/>
          </p:cNvSpPr>
          <p:nvPr>
            <p:ph type="title"/>
          </p:nvPr>
        </p:nvSpPr>
        <p:spPr>
          <a:xfrm>
            <a:off x="1226989" y="377826"/>
            <a:ext cx="7455051" cy="660092"/>
          </a:xfrm>
        </p:spPr>
        <p:txBody>
          <a:bodyPr anchor="ctr"/>
          <a:lstStyle/>
          <a:p>
            <a:r>
              <a:t>Texte :</a:t>
            </a:r>
          </a:p>
          <a:p>
            <a:r>
              <a:t>Durabilité en 2025</a:t>
            </a:r>
          </a:p>
        </p:txBody>
      </p:sp>
      <p:sp>
        <p:nvSpPr>
          <p:cNvPr id="13" name="!!OVAL_network">
            <a:extLst>
              <a:ext uri="{FF2B5EF4-FFF2-40B4-BE49-F238E27FC236}">
                <a16:creationId xmlns:a16="http://schemas.microsoft.com/office/drawing/2014/main" id="{C301407A-0EA9-EA33-8FC9-472BFB35703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14" name="Graphic 13">
            <a:extLst>
              <a:ext uri="{FF2B5EF4-FFF2-40B4-BE49-F238E27FC236}">
                <a16:creationId xmlns:a16="http://schemas.microsoft.com/office/drawing/2014/main" id="{BFAB2E21-8C25-559F-10DB-60C4E53D5DA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7986" y="517372"/>
            <a:ext cx="352777" cy="381000"/>
          </a:xfrm>
          <a:prstGeom prst="rect">
            <a:avLst/>
          </a:prstGeom>
        </p:spPr>
      </p:pic>
      <p:sp>
        <p:nvSpPr>
          <p:cNvPr id="7" name="Round Same-side Corner of Rectangle 6">
            <a:extLst>
              <a:ext uri="{FF2B5EF4-FFF2-40B4-BE49-F238E27FC236}">
                <a16:creationId xmlns:a16="http://schemas.microsoft.com/office/drawing/2014/main" id="{A3C9C74D-04E2-B32D-FBA3-CE8F92893B27}"/>
              </a:ext>
            </a:extLst>
          </p:cNvPr>
          <p:cNvSpPr/>
          <p:nvPr/>
        </p:nvSpPr>
        <p:spPr>
          <a:xfrm>
            <a:off x="460374" y="4072467"/>
            <a:ext cx="8221665" cy="1071033"/>
          </a:xfrm>
          <a:prstGeom prst="round2SameRect">
            <a:avLst>
              <a:gd name="adj1" fmla="val 15869"/>
              <a:gd name="adj2" fmla="val 0"/>
            </a:avLst>
          </a:prstGeom>
          <a:blipFill>
            <a:blip r:embed="rId5"/>
            <a:srcRect/>
            <a:stretch>
              <a:fillRect t="-41425" b="-29037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dirty="0">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13017180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E848298-E2DB-363A-076F-CB9045C94A17}"/>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A9CFFEBF-4530-B96C-3E3A-D5F93C21C541}"/>
              </a:ext>
            </a:extLst>
          </p:cNvPr>
          <p:cNvSpPr>
            <a:spLocks noGrp="1"/>
          </p:cNvSpPr>
          <p:nvPr>
            <p:ph type="body" sz="quarter" idx="13"/>
          </p:nvPr>
        </p:nvSpPr>
        <p:spPr>
          <a:xfrm>
            <a:off x="460369" y="923131"/>
            <a:ext cx="1908000" cy="3297238"/>
          </a:xfrm>
          <a:solidFill>
            <a:schemeClr val="tx1"/>
          </a:solidFill>
        </p:spPr>
        <p:txBody>
          <a:bodyPr tIns="1494000"/>
          <a:lstStyle/>
          <a:p>
            <a:r>
              <a:t>Texte :</a:t>
            </a:r>
          </a:p>
          <a:p>
            <a:r>
              <a:t>Expériences audacieuses</a:t>
            </a:r>
          </a:p>
        </p:txBody>
      </p:sp>
      <p:sp>
        <p:nvSpPr>
          <p:cNvPr id="4" name="!!box2">
            <a:extLst>
              <a:ext uri="{FF2B5EF4-FFF2-40B4-BE49-F238E27FC236}">
                <a16:creationId xmlns:a16="http://schemas.microsoft.com/office/drawing/2014/main" id="{E636A499-C09A-570B-0C7A-574474F1F269}"/>
              </a:ext>
            </a:extLst>
          </p:cNvPr>
          <p:cNvSpPr>
            <a:spLocks noGrp="1"/>
          </p:cNvSpPr>
          <p:nvPr>
            <p:ph type="body" sz="quarter" idx="14"/>
          </p:nvPr>
        </p:nvSpPr>
        <p:spPr>
          <a:xfrm>
            <a:off x="2562393" y="923131"/>
            <a:ext cx="1908000" cy="3297238"/>
          </a:xfrm>
          <a:solidFill>
            <a:schemeClr val="tx1"/>
          </a:solidFill>
        </p:spPr>
        <p:txBody>
          <a:bodyPr tIns="1494000"/>
          <a:lstStyle/>
          <a:p>
            <a:r>
              <a:t>Texte :</a:t>
            </a:r>
          </a:p>
          <a:p>
            <a:r>
              <a:t>Efficacité audacieuse</a:t>
            </a:r>
          </a:p>
        </p:txBody>
      </p:sp>
      <p:sp>
        <p:nvSpPr>
          <p:cNvPr id="5" name="!!box3">
            <a:extLst>
              <a:ext uri="{FF2B5EF4-FFF2-40B4-BE49-F238E27FC236}">
                <a16:creationId xmlns:a16="http://schemas.microsoft.com/office/drawing/2014/main" id="{02CA6C29-112D-1F6D-7212-7425AEFE098E}"/>
              </a:ext>
            </a:extLst>
          </p:cNvPr>
          <p:cNvSpPr>
            <a:spLocks noGrp="1"/>
          </p:cNvSpPr>
          <p:nvPr>
            <p:ph type="body" sz="quarter" idx="15"/>
          </p:nvPr>
        </p:nvSpPr>
        <p:spPr>
          <a:xfrm>
            <a:off x="4668423" y="923131"/>
            <a:ext cx="1908000" cy="3297238"/>
          </a:xfrm>
          <a:solidFill>
            <a:schemeClr val="tx1"/>
          </a:solidFill>
        </p:spPr>
        <p:txBody>
          <a:bodyPr tIns="1494000"/>
          <a:lstStyle/>
          <a:p>
            <a:r>
              <a:t>Texte :</a:t>
            </a:r>
          </a:p>
          <a:p>
            <a:r>
              <a:t>Audace et pérennité</a:t>
            </a:r>
          </a:p>
        </p:txBody>
      </p:sp>
      <p:sp>
        <p:nvSpPr>
          <p:cNvPr id="7" name="!!box5">
            <a:extLst>
              <a:ext uri="{FF2B5EF4-FFF2-40B4-BE49-F238E27FC236}">
                <a16:creationId xmlns:a16="http://schemas.microsoft.com/office/drawing/2014/main" id="{8D2A5DAC-6A77-40DC-5B90-CDE08ED35785}"/>
              </a:ext>
            </a:extLst>
          </p:cNvPr>
          <p:cNvSpPr>
            <a:spLocks noGrp="1"/>
          </p:cNvSpPr>
          <p:nvPr>
            <p:ph type="body" sz="quarter" idx="17"/>
          </p:nvPr>
        </p:nvSpPr>
        <p:spPr>
          <a:xfrm>
            <a:off x="6772450" y="923131"/>
            <a:ext cx="1908000" cy="3297238"/>
          </a:xfrm>
          <a:gradFill>
            <a:gsLst>
              <a:gs pos="0">
                <a:schemeClr val="bg1"/>
              </a:gs>
              <a:gs pos="100000">
                <a:schemeClr val="accent1"/>
              </a:gs>
            </a:gsLst>
            <a:lin ang="4200000" scaled="0"/>
          </a:gradFill>
        </p:spPr>
        <p:txBody>
          <a:bodyPr tIns="1494000"/>
          <a:lstStyle/>
          <a:p>
            <a:r>
              <a:t>Texte :</a:t>
            </a:r>
          </a:p>
          <a:p>
            <a:r>
              <a:t>Des gens audacieux</a:t>
            </a:r>
          </a:p>
        </p:txBody>
      </p:sp>
      <p:grpSp>
        <p:nvGrpSpPr>
          <p:cNvPr id="63" name="Group 62">
            <a:extLst>
              <a:ext uri="{FF2B5EF4-FFF2-40B4-BE49-F238E27FC236}">
                <a16:creationId xmlns:a16="http://schemas.microsoft.com/office/drawing/2014/main" id="{4CAC9538-45D8-93E9-1D23-B4AE952739D9}"/>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E52683C9-F16E-DB52-6314-402F652AC2FE}"/>
                </a:ext>
              </a:extLst>
            </p:cNvPr>
            <p:cNvSpPr>
              <a:spLocks noChangeAspect="1"/>
            </p:cNvSpPr>
            <p:nvPr/>
          </p:nvSpPr>
          <p:spPr>
            <a:xfrm>
              <a:off x="869838" y="1363153"/>
              <a:ext cx="648000" cy="648000"/>
            </a:xfrm>
            <a:prstGeom prst="ellipse">
              <a:avLst/>
            </a:prstGeom>
            <a:gradFill flip="none" rotWithShape="1">
              <a:gsLst>
                <a:gs pos="0">
                  <a:schemeClr val="bg1"/>
                </a:gs>
                <a:gs pos="98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92402BE4-F587-F659-2EFD-D6B3177DC90A}"/>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F87E7390-4D58-4933-C931-55FE4825E2F1}"/>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1C1D4347-B0C7-FF3A-90E4-4D13A75C25BF}"/>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91BBB8F0-1074-B33A-C537-DD84BA60A82A}"/>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42E7ADE2-8EE8-8E77-9008-429C5CE46382}"/>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84DE0709-0EA4-8261-726A-8595E242B7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3E0F81A5-20F9-7957-BA9D-CA6685637A98}"/>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24" name="Group 23">
            <a:extLst>
              <a:ext uri="{FF2B5EF4-FFF2-40B4-BE49-F238E27FC236}">
                <a16:creationId xmlns:a16="http://schemas.microsoft.com/office/drawing/2014/main" id="{AE3C52B5-BB2B-1FDC-3D49-83B2FF53702C}"/>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A1C7D4BD-58D8-9ABB-AE98-9CF5DA4C095C}"/>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217E9B10-125C-7E49-1F8A-1F8C425B430D}"/>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D2CF121F-F4F8-6EB3-A515-BADB26E2BA59}"/>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E0AE5A66-7B86-F664-6BE1-CC0CFF0E1CA9}"/>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DA364C2C-A147-BB8B-165B-03D04B57F15A}"/>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grpSp>
        <p:nvGrpSpPr>
          <p:cNvPr id="6" name="Group 5">
            <a:extLst>
              <a:ext uri="{FF2B5EF4-FFF2-40B4-BE49-F238E27FC236}">
                <a16:creationId xmlns:a16="http://schemas.microsoft.com/office/drawing/2014/main" id="{21EB6A86-6F8B-00AF-73ED-2F57414D7069}"/>
              </a:ext>
            </a:extLst>
          </p:cNvPr>
          <p:cNvGrpSpPr/>
          <p:nvPr/>
        </p:nvGrpSpPr>
        <p:grpSpPr>
          <a:xfrm>
            <a:off x="7402450" y="1390436"/>
            <a:ext cx="648000" cy="648000"/>
            <a:chOff x="8824393" y="1279878"/>
            <a:chExt cx="648000" cy="648000"/>
          </a:xfrm>
        </p:grpSpPr>
        <p:sp>
          <p:nvSpPr>
            <p:cNvPr id="8" name="!!OVAL_technology">
              <a:extLst>
                <a:ext uri="{FF2B5EF4-FFF2-40B4-BE49-F238E27FC236}">
                  <a16:creationId xmlns:a16="http://schemas.microsoft.com/office/drawing/2014/main" id="{A9A338F9-2AF5-32CF-4C7A-94840FDC26F8}"/>
                </a:ext>
              </a:extLst>
            </p:cNvPr>
            <p:cNvSpPr>
              <a:spLocks noChangeAspect="1"/>
            </p:cNvSpPr>
            <p:nvPr/>
          </p:nvSpPr>
          <p:spPr>
            <a:xfrm>
              <a:off x="8824393" y="1279878"/>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9" name="multiple users collab">
              <a:extLst>
                <a:ext uri="{FF2B5EF4-FFF2-40B4-BE49-F238E27FC236}">
                  <a16:creationId xmlns:a16="http://schemas.microsoft.com/office/drawing/2014/main" id="{6CD5F364-3162-609F-1B54-E65755D4E119}"/>
                </a:ext>
              </a:extLst>
            </p:cNvPr>
            <p:cNvGrpSpPr/>
            <p:nvPr/>
          </p:nvGrpSpPr>
          <p:grpSpPr>
            <a:xfrm>
              <a:off x="8967408" y="1422903"/>
              <a:ext cx="361970" cy="361950"/>
              <a:chOff x="7322650" y="2129134"/>
              <a:chExt cx="361970" cy="361950"/>
            </a:xfrm>
            <a:solidFill>
              <a:schemeClr val="tx1"/>
            </a:solidFill>
          </p:grpSpPr>
          <p:sp>
            <p:nvSpPr>
              <p:cNvPr id="10" name="Freeform: Shape 96">
                <a:extLst>
                  <a:ext uri="{FF2B5EF4-FFF2-40B4-BE49-F238E27FC236}">
                    <a16:creationId xmlns:a16="http://schemas.microsoft.com/office/drawing/2014/main" id="{7500B40A-3A66-A591-419F-D94AA8417C4B}"/>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11" name="Freeform: Shape 97">
                <a:extLst>
                  <a:ext uri="{FF2B5EF4-FFF2-40B4-BE49-F238E27FC236}">
                    <a16:creationId xmlns:a16="http://schemas.microsoft.com/office/drawing/2014/main" id="{F6C00494-1A9C-BB14-559B-84555A505A89}"/>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12" name="Freeform: Shape 98">
                <a:extLst>
                  <a:ext uri="{FF2B5EF4-FFF2-40B4-BE49-F238E27FC236}">
                    <a16:creationId xmlns:a16="http://schemas.microsoft.com/office/drawing/2014/main" id="{14DB587A-E1FE-D335-DF8D-7EF3A64B98DD}"/>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39010536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89B867E8-D2AE-F484-EA6B-0F3FF10EABC8}"/>
            </a:ext>
          </a:extLst>
        </p:cNvPr>
        <p:cNvGrpSpPr/>
        <p:nvPr/>
      </p:nvGrpSpPr>
      <p:grpSpPr>
        <a:xfrm>
          <a:off x="0" y="0"/>
          <a:ext cx="0" cy="0"/>
          <a:chOff x="0" y="0"/>
          <a:chExt cx="0" cy="0"/>
        </a:xfrm>
      </p:grpSpPr>
      <p:sp>
        <p:nvSpPr>
          <p:cNvPr id="27" name="!!OVAL_network">
            <a:extLst>
              <a:ext uri="{FF2B5EF4-FFF2-40B4-BE49-F238E27FC236}">
                <a16:creationId xmlns:a16="http://schemas.microsoft.com/office/drawing/2014/main" id="{50707BC6-F3E9-DCC1-0963-18E61E7D22EA}"/>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8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8" name="Rectangle: Rounded Corners 41">
            <a:extLst>
              <a:ext uri="{FF2B5EF4-FFF2-40B4-BE49-F238E27FC236}">
                <a16:creationId xmlns:a16="http://schemas.microsoft.com/office/drawing/2014/main" id="{05807A2D-42E8-9B0C-9A20-375AE32C9EB7}"/>
              </a:ext>
            </a:extLst>
          </p:cNvPr>
          <p:cNvSpPr/>
          <p:nvPr/>
        </p:nvSpPr>
        <p:spPr>
          <a:xfrm>
            <a:off x="460375" y="1263162"/>
            <a:ext cx="2490117" cy="416372"/>
          </a:xfrm>
          <a:prstGeom prst="roundRect">
            <a:avLst>
              <a:gd name="adj" fmla="val 7650"/>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r>
              <a:t>Texte :</a:t>
            </a:r>
          </a:p>
          <a:p>
            <a:r>
              <a:t>Pourquoi SWP ?</a:t>
            </a:r>
          </a:p>
        </p:txBody>
      </p:sp>
      <p:sp>
        <p:nvSpPr>
          <p:cNvPr id="10" name="Tekstvak 7">
            <a:extLst>
              <a:ext uri="{FF2B5EF4-FFF2-40B4-BE49-F238E27FC236}">
                <a16:creationId xmlns:a16="http://schemas.microsoft.com/office/drawing/2014/main" id="{507B50E7-F546-B442-15CB-82EEA165FD1A}"/>
              </a:ext>
            </a:extLst>
          </p:cNvPr>
          <p:cNvSpPr txBox="1"/>
          <p:nvPr/>
        </p:nvSpPr>
        <p:spPr>
          <a:xfrm>
            <a:off x="615380" y="1892674"/>
            <a:ext cx="2180109" cy="1650626"/>
          </a:xfrm>
          <a:prstGeom prst="rect">
            <a:avLst/>
          </a:prstGeom>
          <a:noFill/>
        </p:spPr>
        <p:txBody>
          <a:bodyPr wrap="square" lIns="0" tIns="0" rIns="0" bIns="0" rtlCol="0">
            <a:noAutofit/>
          </a:bodyPr>
          <a:lstStyle/>
          <a:p>
            <a:r>
              <a:t>Texte :</a:t>
            </a:r>
          </a:p>
          <a:p>
            <a:r>
              <a:t>Changements rapides et défis :  </a:t>
            </a:r>
          </a:p>
          <a:p>
            <a:r>
              <a:t>Intelligence Artificielle (IA)</a:t>
            </a:r>
          </a:p>
          <a:p>
            <a:r>
              <a:t>Fibre</a:t>
            </a:r>
          </a:p>
          <a:p>
            <a:r>
              <a:t>Nouvelles technologies</a:t>
            </a:r>
          </a:p>
          <a:p>
            <a:r>
              <a:t>Nos concurrents</a:t>
            </a:r>
          </a:p>
          <a:p>
            <a:r>
              <a:t>Évolutions des coûts</a:t>
            </a:r>
          </a:p>
        </p:txBody>
      </p:sp>
      <p:sp>
        <p:nvSpPr>
          <p:cNvPr id="11" name="Rectangle: Rounded Corners 11">
            <a:extLst>
              <a:ext uri="{FF2B5EF4-FFF2-40B4-BE49-F238E27FC236}">
                <a16:creationId xmlns:a16="http://schemas.microsoft.com/office/drawing/2014/main" id="{FE368D83-8BFA-210C-94A3-E51B2FC0D679}"/>
              </a:ext>
            </a:extLst>
          </p:cNvPr>
          <p:cNvSpPr/>
          <p:nvPr/>
        </p:nvSpPr>
        <p:spPr>
          <a:xfrm>
            <a:off x="460375" y="3954374"/>
            <a:ext cx="2490117" cy="600164"/>
          </a:xfrm>
          <a:prstGeom prst="roundRect">
            <a:avLst>
              <a:gd name="adj" fmla="val 7650"/>
            </a:avLst>
          </a:prstGeom>
          <a:gradFill>
            <a:gsLst>
              <a:gs pos="0">
                <a:schemeClr val="bg1"/>
              </a:gs>
              <a:gs pos="99000">
                <a:schemeClr val="accent1"/>
              </a:gs>
            </a:gsLst>
            <a:lin ang="2700000" scaled="1"/>
          </a:gradFill>
          <a:ln>
            <a:noFill/>
          </a:ln>
        </p:spPr>
        <p:style>
          <a:lnRef idx="2">
            <a:schemeClr val="dk1"/>
          </a:lnRef>
          <a:fillRef idx="1">
            <a:schemeClr val="lt1"/>
          </a:fillRef>
          <a:effectRef idx="0">
            <a:schemeClr val="dk1"/>
          </a:effectRef>
          <a:fontRef idx="minor">
            <a:schemeClr val="dk1"/>
          </a:fontRef>
        </p:style>
        <p:txBody>
          <a:bodyPr vert="horz" lIns="108000" tIns="108000" rIns="108000" bIns="108000" rtlCol="0" anchor="t" anchorCtr="0"/>
          <a:lstStyle/>
          <a:p>
            <a:r>
              <a:t>Texte :</a:t>
            </a:r>
          </a:p>
          <a:p>
            <a:r>
              <a:t>Évolution des besoins en talents et compétences</a:t>
            </a:r>
          </a:p>
        </p:txBody>
      </p:sp>
      <p:pic>
        <p:nvPicPr>
          <p:cNvPr id="13" name="Graphic 12">
            <a:extLst>
              <a:ext uri="{FF2B5EF4-FFF2-40B4-BE49-F238E27FC236}">
                <a16:creationId xmlns:a16="http://schemas.microsoft.com/office/drawing/2014/main" id="{449BED31-2EDB-5E2F-71F0-BDA4804D9C90}"/>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rot="5400000">
            <a:off x="1651132" y="3653568"/>
            <a:ext cx="126784" cy="205744"/>
          </a:xfrm>
          <a:prstGeom prst="rect">
            <a:avLst/>
          </a:prstGeom>
        </p:spPr>
      </p:pic>
      <p:pic>
        <p:nvPicPr>
          <p:cNvPr id="9" name="Graphic 8">
            <a:extLst>
              <a:ext uri="{FF2B5EF4-FFF2-40B4-BE49-F238E27FC236}">
                <a16:creationId xmlns:a16="http://schemas.microsoft.com/office/drawing/2014/main" id="{CC9F08D7-916F-2194-3170-CE87B625120F}"/>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3405618" y="2588081"/>
            <a:ext cx="126784" cy="205744"/>
          </a:xfrm>
          <a:prstGeom prst="rect">
            <a:avLst/>
          </a:prstGeom>
        </p:spPr>
      </p:pic>
      <p:cxnSp>
        <p:nvCxnSpPr>
          <p:cNvPr id="14" name="Rechte verbindingslijn 12">
            <a:extLst>
              <a:ext uri="{FF2B5EF4-FFF2-40B4-BE49-F238E27FC236}">
                <a16:creationId xmlns:a16="http://schemas.microsoft.com/office/drawing/2014/main" id="{553A796F-2926-F98B-0FFA-5EC048CCD7FA}"/>
              </a:ext>
            </a:extLst>
          </p:cNvPr>
          <p:cNvCxnSpPr>
            <a:cxnSpLocks/>
          </p:cNvCxnSpPr>
          <p:nvPr/>
        </p:nvCxnSpPr>
        <p:spPr>
          <a:xfrm>
            <a:off x="3469010" y="1319379"/>
            <a:ext cx="0" cy="1096650"/>
          </a:xfrm>
          <a:prstGeom prst="line">
            <a:avLst/>
          </a:prstGeom>
          <a:ln w="9525" cap="rnd">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41">
            <a:extLst>
              <a:ext uri="{FF2B5EF4-FFF2-40B4-BE49-F238E27FC236}">
                <a16:creationId xmlns:a16="http://schemas.microsoft.com/office/drawing/2014/main" id="{5CE07ED9-1534-B8CE-8F00-93F10B49EEAC}"/>
              </a:ext>
            </a:extLst>
          </p:cNvPr>
          <p:cNvSpPr/>
          <p:nvPr/>
        </p:nvSpPr>
        <p:spPr>
          <a:xfrm>
            <a:off x="5161241" y="12631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r>
              <a:t>Texte :</a:t>
            </a:r>
          </a:p>
          <a:p>
            <a:r>
              <a:t>Quoi &amp; comment ?</a:t>
            </a:r>
          </a:p>
        </p:txBody>
      </p:sp>
      <p:cxnSp>
        <p:nvCxnSpPr>
          <p:cNvPr id="16" name="Rechte verbindingslijn 16">
            <a:extLst>
              <a:ext uri="{FF2B5EF4-FFF2-40B4-BE49-F238E27FC236}">
                <a16:creationId xmlns:a16="http://schemas.microsoft.com/office/drawing/2014/main" id="{6E893063-2B2B-E50A-B043-8526B3D35D19}"/>
              </a:ext>
            </a:extLst>
          </p:cNvPr>
          <p:cNvCxnSpPr>
            <a:cxnSpLocks/>
          </p:cNvCxnSpPr>
          <p:nvPr/>
        </p:nvCxnSpPr>
        <p:spPr>
          <a:xfrm>
            <a:off x="3469010" y="2885334"/>
            <a:ext cx="0" cy="1669204"/>
          </a:xfrm>
          <a:prstGeom prst="line">
            <a:avLst/>
          </a:prstGeom>
          <a:ln w="9525" cap="rnd">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C38855E-739E-1A17-D707-9A78964528D5}"/>
              </a:ext>
            </a:extLst>
          </p:cNvPr>
          <p:cNvSpPr txBox="1">
            <a:spLocks/>
          </p:cNvSpPr>
          <p:nvPr/>
        </p:nvSpPr>
        <p:spPr>
          <a:xfrm>
            <a:off x="3881985" y="1892674"/>
            <a:ext cx="4946887" cy="2824008"/>
          </a:xfrm>
          <a:prstGeom prst="rect">
            <a:avLst/>
          </a:prstGeom>
        </p:spPr>
        <p:txBody>
          <a:bodyPr vert="horz" lIns="0" tIns="0" rIns="0" bIns="0" numCol="1" spcCol="0" rtlCol="0" anchor="t" anchorCtr="0">
            <a:noAutofit/>
          </a:bodyPr>
          <a:lstStyle>
            <a:lvl1pPr marL="0" indent="0" algn="l" defTabSz="914287" rtl="0" eaLnBrk="1" latinLnBrk="0" hangingPunct="1">
              <a:lnSpc>
                <a:spcPts val="2200"/>
              </a:lnSpc>
              <a:spcBef>
                <a:spcPts val="0"/>
              </a:spcBef>
              <a:spcAft>
                <a:spcPts val="1100"/>
              </a:spcAft>
              <a:buClr>
                <a:schemeClr val="bg1"/>
              </a:buClr>
              <a:buSzPct val="100000"/>
              <a:buFont typeface="Arial" panose="020B0604020202020204" pitchFamily="34" charset="0"/>
              <a:buNone/>
              <a:tabLst/>
              <a:defRPr sz="1800" kern="1200">
                <a:solidFill>
                  <a:schemeClr val="bg1"/>
                </a:solidFill>
                <a:latin typeface="Proximus Bold" panose="00000500000000000000" pitchFamily="2" charset="0"/>
                <a:ea typeface="+mn-ea"/>
                <a:cs typeface="+mn-cs"/>
              </a:defRPr>
            </a:lvl1pPr>
            <a:lvl2pPr marL="358730"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800" kern="1200">
                <a:solidFill>
                  <a:schemeClr val="bg1"/>
                </a:solidFill>
                <a:latin typeface="Proximus Bold" panose="00000500000000000000" pitchFamily="2" charset="0"/>
                <a:ea typeface="+mn-ea"/>
                <a:cs typeface="+mn-cs"/>
              </a:defRPr>
            </a:lvl2pPr>
            <a:lvl3pPr marL="536507" indent="-177779" algn="l" defTabSz="914287" rtl="0" eaLnBrk="1" latinLnBrk="0" hangingPunct="1">
              <a:spcBef>
                <a:spcPts val="0"/>
              </a:spcBef>
              <a:spcAft>
                <a:spcPts val="1100"/>
              </a:spcAft>
              <a:buClr>
                <a:schemeClr val="bg1"/>
              </a:buClr>
              <a:buSzPct val="100000"/>
              <a:buFont typeface="Arial" panose="020B0604020202020204" pitchFamily="34" charset="0"/>
              <a:buChar char="•"/>
              <a:tabLst/>
              <a:defRPr sz="1600" kern="1200">
                <a:solidFill>
                  <a:schemeClr val="bg1"/>
                </a:solidFill>
                <a:latin typeface="Proximus Bold" panose="00000500000000000000" pitchFamily="2" charset="0"/>
                <a:ea typeface="+mn-ea"/>
                <a:cs typeface="+mn-cs"/>
              </a:defRPr>
            </a:lvl3pPr>
            <a:lvl4pPr marL="712699"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400" kern="1200">
                <a:solidFill>
                  <a:schemeClr val="bg1"/>
                </a:solidFill>
                <a:latin typeface="Proximus Bold" panose="00000500000000000000" pitchFamily="2" charset="0"/>
                <a:ea typeface="+mn-ea"/>
                <a:cs typeface="+mn-cs"/>
              </a:defRPr>
            </a:lvl4pPr>
            <a:lvl5pPr marL="888889"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200" kern="1200">
                <a:solidFill>
                  <a:schemeClr val="bg1"/>
                </a:solidFill>
                <a:latin typeface="Proximus Bold" panose="00000500000000000000" pitchFamily="2"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SWP vise à placer le bon talent au bon endroit</a:t>
            </a:r>
          </a:p>
          <a:p>
            <a:r>
              <a:t>à court, moyen et long terme :</a:t>
            </a:r>
          </a:p>
        </p:txBody>
      </p:sp>
      <p:sp>
        <p:nvSpPr>
          <p:cNvPr id="18" name="Rectangle: Rounded Corners 41">
            <a:extLst>
              <a:ext uri="{FF2B5EF4-FFF2-40B4-BE49-F238E27FC236}">
                <a16:creationId xmlns:a16="http://schemas.microsoft.com/office/drawing/2014/main" id="{AD56652C-C394-D2B6-C1D8-384B0BDF59F0}"/>
              </a:ext>
            </a:extLst>
          </p:cNvPr>
          <p:cNvSpPr/>
          <p:nvPr/>
        </p:nvSpPr>
        <p:spPr>
          <a:xfrm>
            <a:off x="3886114" y="24689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r>
              <a:t>Texte :</a:t>
            </a:r>
          </a:p>
          <a:p>
            <a:r>
              <a:t>Besoins en futurs talents</a:t>
            </a:r>
          </a:p>
        </p:txBody>
      </p:sp>
      <p:sp>
        <p:nvSpPr>
          <p:cNvPr id="23" name="Rectangle: Rounded Corners 41">
            <a:extLst>
              <a:ext uri="{FF2B5EF4-FFF2-40B4-BE49-F238E27FC236}">
                <a16:creationId xmlns:a16="http://schemas.microsoft.com/office/drawing/2014/main" id="{4E637697-CC13-540B-161D-43572B3C3C22}"/>
              </a:ext>
            </a:extLst>
          </p:cNvPr>
          <p:cNvSpPr/>
          <p:nvPr/>
        </p:nvSpPr>
        <p:spPr>
          <a:xfrm>
            <a:off x="6721593" y="24689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r>
              <a:t>Texte :</a:t>
            </a:r>
          </a:p>
          <a:p>
            <a:r>
              <a:t>Évolutions de la main-d'œuvre</a:t>
            </a:r>
          </a:p>
        </p:txBody>
      </p:sp>
      <p:sp>
        <p:nvSpPr>
          <p:cNvPr id="24" name="Tekstvak 25">
            <a:extLst>
              <a:ext uri="{FF2B5EF4-FFF2-40B4-BE49-F238E27FC236}">
                <a16:creationId xmlns:a16="http://schemas.microsoft.com/office/drawing/2014/main" id="{43F0BCCA-6750-0E3F-EFC2-41155923CF3C}"/>
              </a:ext>
            </a:extLst>
          </p:cNvPr>
          <p:cNvSpPr txBox="1"/>
          <p:nvPr/>
        </p:nvSpPr>
        <p:spPr>
          <a:xfrm>
            <a:off x="3881985" y="3125159"/>
            <a:ext cx="4808006" cy="1429379"/>
          </a:xfrm>
          <a:prstGeom prst="rect">
            <a:avLst/>
          </a:prstGeom>
          <a:noFill/>
        </p:spPr>
        <p:txBody>
          <a:bodyPr wrap="square" lIns="0" tIns="0" rIns="0" bIns="0" rtlCol="0">
            <a:noAutofit/>
          </a:bodyPr>
          <a:lstStyle/>
          <a:p>
            <a:r>
              <a:t>Texte :</a:t>
            </a:r>
          </a:p>
          <a:p>
            <a:r>
              <a:t>Objectif = trouver des solutions proactives pour les déséquilibres entre les besoins en talents et les évolutions naturelles de la main-d'œuvre :</a:t>
            </a:r>
          </a:p>
          <a:p/>
          <a:p>
            <a:r>
              <a:t>Perfectionnement : approfondir et élargir vos compétences et expertises actuelles</a:t>
            </a:r>
          </a:p>
          <a:p/>
          <a:p>
            <a:r>
              <a:t>Reconversion : continuer à apprendre de nouvelles compétences et expertises essentielles pour l'avenir</a:t>
            </a:r>
          </a:p>
        </p:txBody>
      </p:sp>
      <p:pic>
        <p:nvPicPr>
          <p:cNvPr id="25" name="Afbeelding 31">
            <a:extLst>
              <a:ext uri="{FF2B5EF4-FFF2-40B4-BE49-F238E27FC236}">
                <a16:creationId xmlns:a16="http://schemas.microsoft.com/office/drawing/2014/main" id="{4C850AFA-6135-DA3E-77F5-F9AFD169E153}"/>
              </a:ext>
            </a:extLst>
          </p:cNvPr>
          <p:cNvPicPr>
            <a:picLocks noChangeAspect="1"/>
          </p:cNvPicPr>
          <p:nvPr/>
        </p:nvPicPr>
        <p:blipFill>
          <a:blip r:embed="rId6"/>
          <a:stretch>
            <a:fillRect/>
          </a:stretch>
        </p:blipFill>
        <p:spPr>
          <a:xfrm>
            <a:off x="6000969" y="2436953"/>
            <a:ext cx="508000" cy="508000"/>
          </a:xfrm>
          <a:prstGeom prst="rect">
            <a:avLst/>
          </a:prstGeom>
        </p:spPr>
      </p:pic>
      <p:sp>
        <p:nvSpPr>
          <p:cNvPr id="26" name="TextBox 25">
            <a:extLst>
              <a:ext uri="{FF2B5EF4-FFF2-40B4-BE49-F238E27FC236}">
                <a16:creationId xmlns:a16="http://schemas.microsoft.com/office/drawing/2014/main" id="{6B6FD08A-42A6-D974-9280-C114C3CA21D0}"/>
              </a:ext>
            </a:extLst>
          </p:cNvPr>
          <p:cNvSpPr txBox="1"/>
          <p:nvPr/>
        </p:nvSpPr>
        <p:spPr>
          <a:xfrm>
            <a:off x="1263380" y="356817"/>
            <a:ext cx="7267528" cy="720197"/>
          </a:xfrm>
          <a:prstGeom prst="rect">
            <a:avLst/>
          </a:prstGeom>
          <a:noFill/>
        </p:spPr>
        <p:txBody>
          <a:bodyPr wrap="square" lIns="0" tIns="0" rIns="0" bIns="0" anchor="ctr">
            <a:spAutoFit/>
          </a:bodyPr>
          <a:lstStyle/>
          <a:p>
            <a:r>
              <a:t>Texte:</a:t>
            </a:r>
          </a:p>
          <a:p>
            <a:r>
              <a:t>Soyez flexible et anticipez les besoins changeants en matière de talents pour être pleinement préparé pour l'avenir.</a:t>
            </a:r>
          </a:p>
        </p:txBody>
      </p:sp>
      <p:pic>
        <p:nvPicPr>
          <p:cNvPr id="22" name="Graphic 21">
            <a:extLst>
              <a:ext uri="{FF2B5EF4-FFF2-40B4-BE49-F238E27FC236}">
                <a16:creationId xmlns:a16="http://schemas.microsoft.com/office/drawing/2014/main" id="{A91BF65C-B23A-5108-C194-A55DF76C9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5625" y="498322"/>
            <a:ext cx="317500" cy="419100"/>
          </a:xfrm>
          <a:prstGeom prst="rect">
            <a:avLst/>
          </a:prstGeom>
        </p:spPr>
      </p:pic>
    </p:spTree>
    <p:extLst>
      <p:ext uri="{BB962C8B-B14F-4D97-AF65-F5344CB8AC3E}">
        <p14:creationId xmlns:p14="http://schemas.microsoft.com/office/powerpoint/2010/main" val="3283357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F4F3D-88DE-88C3-4F20-E7B8B28A3239}"/>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6B68B2B0-9993-EA6C-162F-CA13245AC6EC}"/>
              </a:ext>
            </a:extLst>
          </p:cNvPr>
          <p:cNvGrpSpPr/>
          <p:nvPr/>
        </p:nvGrpSpPr>
        <p:grpSpPr>
          <a:xfrm>
            <a:off x="460375" y="389918"/>
            <a:ext cx="648000" cy="648000"/>
            <a:chOff x="8824393" y="1279878"/>
            <a:chExt cx="648000" cy="648000"/>
          </a:xfrm>
        </p:grpSpPr>
        <p:sp>
          <p:nvSpPr>
            <p:cNvPr id="7" name="!!OVAL_technology">
              <a:extLst>
                <a:ext uri="{FF2B5EF4-FFF2-40B4-BE49-F238E27FC236}">
                  <a16:creationId xmlns:a16="http://schemas.microsoft.com/office/drawing/2014/main" id="{F1AAE8E7-A5E7-5CEA-A631-0656AFA7DADB}"/>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12" name="multiple users collab">
              <a:extLst>
                <a:ext uri="{FF2B5EF4-FFF2-40B4-BE49-F238E27FC236}">
                  <a16:creationId xmlns:a16="http://schemas.microsoft.com/office/drawing/2014/main" id="{028630AF-29CA-90C6-45C4-D58B2A238F06}"/>
                </a:ext>
              </a:extLst>
            </p:cNvPr>
            <p:cNvGrpSpPr/>
            <p:nvPr/>
          </p:nvGrpSpPr>
          <p:grpSpPr>
            <a:xfrm>
              <a:off x="8967408" y="1422903"/>
              <a:ext cx="361970" cy="361950"/>
              <a:chOff x="7322650" y="2129134"/>
              <a:chExt cx="361970" cy="361950"/>
            </a:xfrm>
            <a:solidFill>
              <a:schemeClr val="tx1"/>
            </a:solidFill>
          </p:grpSpPr>
          <p:sp>
            <p:nvSpPr>
              <p:cNvPr id="19" name="Freeform: Shape 96">
                <a:extLst>
                  <a:ext uri="{FF2B5EF4-FFF2-40B4-BE49-F238E27FC236}">
                    <a16:creationId xmlns:a16="http://schemas.microsoft.com/office/drawing/2014/main" id="{6F039F0B-110E-916F-55B8-B0A417937C01}"/>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20" name="Freeform: Shape 97">
                <a:extLst>
                  <a:ext uri="{FF2B5EF4-FFF2-40B4-BE49-F238E27FC236}">
                    <a16:creationId xmlns:a16="http://schemas.microsoft.com/office/drawing/2014/main" id="{9F41FA31-F058-CEC9-509D-0621F6470101}"/>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22" name="Freeform: Shape 98">
                <a:extLst>
                  <a:ext uri="{FF2B5EF4-FFF2-40B4-BE49-F238E27FC236}">
                    <a16:creationId xmlns:a16="http://schemas.microsoft.com/office/drawing/2014/main" id="{1ECAC88D-3AB2-A5DB-5C8E-8193A047A7B0}"/>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sp>
        <p:nvSpPr>
          <p:cNvPr id="2" name="Title 1">
            <a:extLst>
              <a:ext uri="{FF2B5EF4-FFF2-40B4-BE49-F238E27FC236}">
                <a16:creationId xmlns:a16="http://schemas.microsoft.com/office/drawing/2014/main" id="{F516BCC7-BA3F-76C8-DFD9-B7FA8858A5AF}"/>
              </a:ext>
            </a:extLst>
          </p:cNvPr>
          <p:cNvSpPr>
            <a:spLocks noGrp="1"/>
          </p:cNvSpPr>
          <p:nvPr>
            <p:ph type="title"/>
          </p:nvPr>
        </p:nvSpPr>
        <p:spPr>
          <a:xfrm>
            <a:off x="1252548" y="377826"/>
            <a:ext cx="7429492" cy="660092"/>
          </a:xfrm>
        </p:spPr>
        <p:txBody>
          <a:bodyPr anchor="ctr"/>
          <a:lstStyle/>
          <a:p>
            <a:r>
              <a:t>Texte :</a:t>
            </a:r>
          </a:p>
          <a:p>
            <a:r>
              <a:t>Des gens audacieux en 2025</a:t>
            </a:r>
          </a:p>
        </p:txBody>
      </p:sp>
      <p:sp>
        <p:nvSpPr>
          <p:cNvPr id="3" name="Text Placeholder 2">
            <a:extLst>
              <a:ext uri="{FF2B5EF4-FFF2-40B4-BE49-F238E27FC236}">
                <a16:creationId xmlns:a16="http://schemas.microsoft.com/office/drawing/2014/main" id="{14DFADC1-CD01-1DF6-47BF-0330B0571AD1}"/>
              </a:ext>
            </a:extLst>
          </p:cNvPr>
          <p:cNvSpPr>
            <a:spLocks noGrp="1"/>
          </p:cNvSpPr>
          <p:nvPr>
            <p:ph type="body" sz="quarter" idx="4294967295"/>
          </p:nvPr>
        </p:nvSpPr>
        <p:spPr>
          <a:xfrm>
            <a:off x="460375" y="1408112"/>
            <a:ext cx="1908000" cy="3294065"/>
          </a:xfrm>
          <a:prstGeom prst="roundRect">
            <a:avLst>
              <a:gd name="adj" fmla="val 9984"/>
            </a:avLst>
          </a:prstGeom>
          <a:gradFill flip="none" rotWithShape="1">
            <a:gsLst>
              <a:gs pos="0">
                <a:schemeClr val="bg1"/>
              </a:gs>
              <a:gs pos="100000">
                <a:schemeClr val="accent1"/>
              </a:gs>
            </a:gsLst>
            <a:lin ang="10800000" scaled="1"/>
            <a:tileRect/>
          </a:gradFill>
        </p:spPr>
        <p:txBody>
          <a:bodyPr tIns="576000" anchor="ctr"/>
          <a:lstStyle/>
          <a:p>
            <a:r>
              <a:t>Planification Stratégique des Effectifs (PSE)</a:t>
            </a:r>
          </a:p>
        </p:txBody>
      </p:sp>
      <p:sp>
        <p:nvSpPr>
          <p:cNvPr id="6" name="Text Placeholder 4">
            <a:extLst>
              <a:ext uri="{FF2B5EF4-FFF2-40B4-BE49-F238E27FC236}">
                <a16:creationId xmlns:a16="http://schemas.microsoft.com/office/drawing/2014/main" id="{7719351D-0BC3-9E08-AFC8-6746EB42A548}"/>
              </a:ext>
            </a:extLst>
          </p:cNvPr>
          <p:cNvSpPr txBox="1">
            <a:spLocks/>
          </p:cNvSpPr>
          <p:nvPr/>
        </p:nvSpPr>
        <p:spPr>
          <a:xfrm>
            <a:off x="2572320" y="1393460"/>
            <a:ext cx="1884240" cy="178616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1</a:t>
            </a:r>
          </a:p>
          <a:p>
            <a:r>
              <a:t>Parcours de formation pour garantir la montée en compétences</a:t>
            </a:r>
          </a:p>
        </p:txBody>
      </p:sp>
      <p:sp>
        <p:nvSpPr>
          <p:cNvPr id="8" name="Text Placeholder 4">
            <a:extLst>
              <a:ext uri="{FF2B5EF4-FFF2-40B4-BE49-F238E27FC236}">
                <a16:creationId xmlns:a16="http://schemas.microsoft.com/office/drawing/2014/main" id="{4D7646A8-819C-7245-A184-D107B19F68E9}"/>
              </a:ext>
            </a:extLst>
          </p:cNvPr>
          <p:cNvSpPr txBox="1">
            <a:spLocks/>
          </p:cNvSpPr>
          <p:nvPr/>
        </p:nvSpPr>
        <p:spPr>
          <a:xfrm>
            <a:off x="4684265" y="1387106"/>
            <a:ext cx="1884240" cy="179186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2</a:t>
            </a:r>
          </a:p>
          <a:p>
            <a:r>
              <a:t>Opportunités de reconversion</a:t>
            </a:r>
          </a:p>
        </p:txBody>
      </p:sp>
      <p:sp>
        <p:nvSpPr>
          <p:cNvPr id="10" name="Text Placeholder 4">
            <a:extLst>
              <a:ext uri="{FF2B5EF4-FFF2-40B4-BE49-F238E27FC236}">
                <a16:creationId xmlns:a16="http://schemas.microsoft.com/office/drawing/2014/main" id="{B8DA6400-BA14-9EFD-9642-67CD539471C1}"/>
              </a:ext>
            </a:extLst>
          </p:cNvPr>
          <p:cNvSpPr txBox="1">
            <a:spLocks/>
          </p:cNvSpPr>
          <p:nvPr/>
        </p:nvSpPr>
        <p:spPr>
          <a:xfrm>
            <a:off x="6796210" y="2382991"/>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3</a:t>
            </a:r>
          </a:p>
          <a:p>
            <a:r>
              <a:t>Parcours de changement et de formation pour les chefs d'équipe et les employés pour soutenir les changements</a:t>
            </a:r>
          </a:p>
        </p:txBody>
      </p:sp>
      <p:sp>
        <p:nvSpPr>
          <p:cNvPr id="15" name="Rounded Rectangle 14">
            <a:extLst>
              <a:ext uri="{FF2B5EF4-FFF2-40B4-BE49-F238E27FC236}">
                <a16:creationId xmlns:a16="http://schemas.microsoft.com/office/drawing/2014/main" id="{86B294C9-F787-9211-C571-BF7DAABB9FEF}"/>
              </a:ext>
            </a:extLst>
          </p:cNvPr>
          <p:cNvSpPr/>
          <p:nvPr/>
        </p:nvSpPr>
        <p:spPr>
          <a:xfrm>
            <a:off x="6796210" y="-426284"/>
            <a:ext cx="1884240" cy="2611751"/>
          </a:xfrm>
          <a:prstGeom prst="roundRect">
            <a:avLst>
              <a:gd name="adj" fmla="val 10110"/>
            </a:avLst>
          </a:prstGeom>
          <a:blipFill>
            <a:blip r:embed="rId3"/>
            <a:srcRect/>
            <a:stretch>
              <a:fillRect l="-39817" t="13576" r="-3981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6" name="Rounded Rectangle 15">
            <a:extLst>
              <a:ext uri="{FF2B5EF4-FFF2-40B4-BE49-F238E27FC236}">
                <a16:creationId xmlns:a16="http://schemas.microsoft.com/office/drawing/2014/main" id="{01A9200A-8B48-DC72-6960-B8D6ED0A9DA2}"/>
              </a:ext>
            </a:extLst>
          </p:cNvPr>
          <p:cNvSpPr/>
          <p:nvPr/>
        </p:nvSpPr>
        <p:spPr>
          <a:xfrm>
            <a:off x="2572320" y="3364707"/>
            <a:ext cx="3996185" cy="2327002"/>
          </a:xfrm>
          <a:prstGeom prst="roundRect">
            <a:avLst>
              <a:gd name="adj" fmla="val 4767"/>
            </a:avLst>
          </a:prstGeom>
          <a:blipFill>
            <a:blip r:embed="rId4"/>
            <a:srcRect/>
            <a:stretch>
              <a:fillRect t="-13303" b="-122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4" name="Graphic 3">
            <a:extLst>
              <a:ext uri="{FF2B5EF4-FFF2-40B4-BE49-F238E27FC236}">
                <a16:creationId xmlns:a16="http://schemas.microsoft.com/office/drawing/2014/main" id="{3612B4A2-8066-1B7D-98DA-840E18657A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55625" y="2221125"/>
            <a:ext cx="317500" cy="419100"/>
          </a:xfrm>
          <a:prstGeom prst="rect">
            <a:avLst/>
          </a:prstGeom>
        </p:spPr>
      </p:pic>
    </p:spTree>
    <p:extLst>
      <p:ext uri="{BB962C8B-B14F-4D97-AF65-F5344CB8AC3E}">
        <p14:creationId xmlns:p14="http://schemas.microsoft.com/office/powerpoint/2010/main" val="1363181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7B8CE-0C2B-94A0-B0FE-EFF8090D3D19}"/>
            </a:ext>
          </a:extLst>
        </p:cNvPr>
        <p:cNvGrpSpPr/>
        <p:nvPr/>
      </p:nvGrpSpPr>
      <p:grpSpPr>
        <a:xfrm>
          <a:off x="0" y="0"/>
          <a:ext cx="0" cy="0"/>
          <a:chOff x="0" y="0"/>
          <a:chExt cx="0" cy="0"/>
        </a:xfrm>
      </p:grpSpPr>
      <p:pic>
        <p:nvPicPr>
          <p:cNvPr id="3" name="Picture 2" descr="A person sitting on a bench&#10;&#10;Description automatically generated">
            <a:extLst>
              <a:ext uri="{FF2B5EF4-FFF2-40B4-BE49-F238E27FC236}">
                <a16:creationId xmlns:a16="http://schemas.microsoft.com/office/drawing/2014/main" id="{9AE78248-F10F-EE55-4A7C-70BC284C4923}"/>
              </a:ext>
            </a:extLst>
          </p:cNvPr>
          <p:cNvPicPr>
            <a:picLocks noChangeAspect="1"/>
          </p:cNvPicPr>
          <p:nvPr/>
        </p:nvPicPr>
        <p:blipFill>
          <a:blip r:embed="rId3"/>
          <a:stretch>
            <a:fillRect/>
          </a:stretch>
        </p:blipFill>
        <p:spPr>
          <a:xfrm>
            <a:off x="0" y="0"/>
            <a:ext cx="9144000" cy="5143500"/>
          </a:xfrm>
          <a:prstGeom prst="rect">
            <a:avLst/>
          </a:prstGeom>
        </p:spPr>
      </p:pic>
      <p:pic>
        <p:nvPicPr>
          <p:cNvPr id="10" name="Graphic 9">
            <a:extLst>
              <a:ext uri="{FF2B5EF4-FFF2-40B4-BE49-F238E27FC236}">
                <a16:creationId xmlns:a16="http://schemas.microsoft.com/office/drawing/2014/main" id="{6AC458E8-4C27-88A7-753D-CAA6FF04B8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28657240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5D14ED4E-332A-5B40-4AC1-FFB2751D903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6C67E9D-8CED-178D-0EED-0BDDA61F7A19}"/>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NBU 4.0</a:t>
            </a:r>
          </a:p>
        </p:txBody>
      </p:sp>
      <p:sp>
        <p:nvSpPr>
          <p:cNvPr id="2" name="TextBox 1">
            <a:extLst>
              <a:ext uri="{FF2B5EF4-FFF2-40B4-BE49-F238E27FC236}">
                <a16:creationId xmlns:a16="http://schemas.microsoft.com/office/drawing/2014/main" id="{7AFF24F4-8C26-4F0E-B137-B37408083B14}"/>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128170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323AB906-A44C-4725-AEE6-0187A7E32917}"/>
            </a:ext>
          </a:extLst>
        </p:cNvPr>
        <p:cNvGrpSpPr/>
        <p:nvPr/>
      </p:nvGrpSpPr>
      <p:grpSpPr>
        <a:xfrm>
          <a:off x="0" y="0"/>
          <a:ext cx="0" cy="0"/>
          <a:chOff x="0" y="0"/>
          <a:chExt cx="0" cy="0"/>
        </a:xfrm>
      </p:grpSpPr>
      <p:pic>
        <p:nvPicPr>
          <p:cNvPr id="2" name="Graphic 1">
            <a:extLst>
              <a:ext uri="{FF2B5EF4-FFF2-40B4-BE49-F238E27FC236}">
                <a16:creationId xmlns:a16="http://schemas.microsoft.com/office/drawing/2014/main" id="{C874C962-3991-997A-0CC1-F04C2737B41E}"/>
              </a:ext>
            </a:extLst>
          </p:cNvPr>
          <p:cNvPicPr>
            <a:picLocks noChangeAspect="1"/>
          </p:cNvPicPr>
          <p:nvPr/>
        </p:nvPicPr>
        <p:blipFill>
          <a:blip r:embed="rId3"/>
          <a:srcRect/>
          <a:stretch/>
        </p:blipFill>
        <p:spPr>
          <a:xfrm rot="14253325">
            <a:off x="2892825" y="3488595"/>
            <a:ext cx="8099170" cy="9282716"/>
          </a:xfrm>
          <a:prstGeom prst="rect">
            <a:avLst/>
          </a:prstGeom>
          <a:noFill/>
        </p:spPr>
      </p:pic>
      <p:sp>
        <p:nvSpPr>
          <p:cNvPr id="71" name="Rounded Rectangle 16">
            <a:extLst>
              <a:ext uri="{FF2B5EF4-FFF2-40B4-BE49-F238E27FC236}">
                <a16:creationId xmlns:a16="http://schemas.microsoft.com/office/drawing/2014/main" id="{227CE898-B676-C362-1A34-4212C244920B}"/>
              </a:ext>
            </a:extLst>
          </p:cNvPr>
          <p:cNvSpPr/>
          <p:nvPr/>
        </p:nvSpPr>
        <p:spPr>
          <a:xfrm>
            <a:off x="3504924" y="1202503"/>
            <a:ext cx="5178700" cy="2442297"/>
          </a:xfrm>
          <a:prstGeom prst="roundRect">
            <a:avLst>
              <a:gd name="adj" fmla="val 6799"/>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408084"/>
            <a:endParaRPr lang="en-US" sz="1400">
              <a:solidFill>
                <a:schemeClr val="bg1"/>
              </a:solidFill>
              <a:latin typeface="Proximus Light" pitchFamily="2" charset="77"/>
            </a:endParaRPr>
          </a:p>
        </p:txBody>
      </p:sp>
      <p:sp>
        <p:nvSpPr>
          <p:cNvPr id="3" name="TextBox 2">
            <a:extLst>
              <a:ext uri="{FF2B5EF4-FFF2-40B4-BE49-F238E27FC236}">
                <a16:creationId xmlns:a16="http://schemas.microsoft.com/office/drawing/2014/main" id="{0C3F97DF-CCEA-C0F7-21A8-5232C106B136}"/>
              </a:ext>
            </a:extLst>
          </p:cNvPr>
          <p:cNvSpPr txBox="1"/>
          <p:nvPr/>
        </p:nvSpPr>
        <p:spPr>
          <a:xfrm>
            <a:off x="8054578" y="6004321"/>
            <a:ext cx="914400" cy="914400"/>
          </a:xfrm>
          <a:prstGeom prst="rect">
            <a:avLst/>
          </a:prstGeom>
        </p:spPr>
        <p:txBody>
          <a:bodyPr vert="horz" wrap="square" lIns="0" tIns="0" rIns="0" bIns="0" numCol="1" spcCol="0" rtlCol="0" anchor="t" anchorCtr="0">
            <a:noAutofit/>
          </a:bodyPr>
          <a:lstStyle/>
          <a:p>
            <a:pPr algn="l"/>
            <a:endParaRPr lang="en-GB"/>
          </a:p>
        </p:txBody>
      </p:sp>
      <p:sp>
        <p:nvSpPr>
          <p:cNvPr id="11" name="Title 10">
            <a:extLst>
              <a:ext uri="{FF2B5EF4-FFF2-40B4-BE49-F238E27FC236}">
                <a16:creationId xmlns:a16="http://schemas.microsoft.com/office/drawing/2014/main" id="{2A44CF41-C450-B9DD-1E70-8DA776175D83}"/>
              </a:ext>
            </a:extLst>
          </p:cNvPr>
          <p:cNvSpPr>
            <a:spLocks noGrp="1"/>
          </p:cNvSpPr>
          <p:nvPr>
            <p:ph type="title"/>
          </p:nvPr>
        </p:nvSpPr>
        <p:spPr>
          <a:xfrm>
            <a:off x="1083733" y="379412"/>
            <a:ext cx="7070108" cy="694887"/>
          </a:xfrm>
        </p:spPr>
        <p:txBody>
          <a:bodyPr>
            <a:noAutofit/>
          </a:bodyPr>
          <a:lstStyle/>
          <a:p>
            <a:r>
              <a:t>Texte :</a:t>
            </a:r>
          </a:p>
          <a:p>
            <a:r>
              <a:t>Merci pour votre retour !</a:t>
            </a:r>
          </a:p>
        </p:txBody>
      </p:sp>
      <p:sp>
        <p:nvSpPr>
          <p:cNvPr id="4" name="Rounded Rectangle 16">
            <a:extLst>
              <a:ext uri="{FF2B5EF4-FFF2-40B4-BE49-F238E27FC236}">
                <a16:creationId xmlns:a16="http://schemas.microsoft.com/office/drawing/2014/main" id="{49B30AA2-543B-63CD-8921-C9FA23C0C1AF}"/>
              </a:ext>
            </a:extLst>
          </p:cNvPr>
          <p:cNvSpPr/>
          <p:nvPr/>
        </p:nvSpPr>
        <p:spPr>
          <a:xfrm>
            <a:off x="460376" y="1202503"/>
            <a:ext cx="2561095" cy="1834156"/>
          </a:xfrm>
          <a:prstGeom prst="roundRect">
            <a:avLst>
              <a:gd name="adj" fmla="val 7438"/>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r>
              <a:t>Taux de réponse 82%</a:t>
            </a:r>
          </a:p>
          <a:p>
            <a:r>
              <a:t>encore plus élevé que l'année dernière</a:t>
            </a:r>
          </a:p>
        </p:txBody>
      </p:sp>
      <p:pic>
        <p:nvPicPr>
          <p:cNvPr id="9" name="Graphic 8">
            <a:extLst>
              <a:ext uri="{FF2B5EF4-FFF2-40B4-BE49-F238E27FC236}">
                <a16:creationId xmlns:a16="http://schemas.microsoft.com/office/drawing/2014/main" id="{280121AD-17BD-CAA1-8D21-E160271AE098}"/>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rot="5400000">
            <a:off x="1677531" y="3220311"/>
            <a:ext cx="126784" cy="205744"/>
          </a:xfrm>
          <a:prstGeom prst="rect">
            <a:avLst/>
          </a:prstGeom>
        </p:spPr>
      </p:pic>
      <p:pic>
        <p:nvPicPr>
          <p:cNvPr id="10" name="Graphic 9">
            <a:extLst>
              <a:ext uri="{FF2B5EF4-FFF2-40B4-BE49-F238E27FC236}">
                <a16:creationId xmlns:a16="http://schemas.microsoft.com/office/drawing/2014/main" id="{932E9046-EE11-1DA3-5121-F71D545159EE}"/>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3192638" y="2016708"/>
            <a:ext cx="126784" cy="205744"/>
          </a:xfrm>
          <a:prstGeom prst="rect">
            <a:avLst/>
          </a:prstGeom>
        </p:spPr>
      </p:pic>
      <p:sp>
        <p:nvSpPr>
          <p:cNvPr id="47" name="Rectangle 25">
            <a:extLst>
              <a:ext uri="{FF2B5EF4-FFF2-40B4-BE49-F238E27FC236}">
                <a16:creationId xmlns:a16="http://schemas.microsoft.com/office/drawing/2014/main" id="{E260953F-34CC-A5DB-9FB1-D1B13B838958}"/>
              </a:ext>
            </a:extLst>
          </p:cNvPr>
          <p:cNvSpPr>
            <a:spLocks noChangeArrowheads="1"/>
          </p:cNvSpPr>
          <p:nvPr/>
        </p:nvSpPr>
        <p:spPr bwMode="auto">
          <a:xfrm>
            <a:off x="3855226" y="1910546"/>
            <a:ext cx="2424743" cy="143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t>Texte :</a:t>
            </a:r>
          </a:p>
          <a:p>
            <a:r>
              <a:t>Engagement</a:t>
            </a:r>
          </a:p>
          <a:p>
            <a:r>
              <a:t>Autonomisation &amp; responsabilité</a:t>
            </a:r>
          </a:p>
          <a:p>
            <a:r>
              <a:t>Agilité</a:t>
            </a:r>
          </a:p>
          <a:p>
            <a:r>
              <a:t>Stratégie &amp; leadership</a:t>
            </a:r>
          </a:p>
        </p:txBody>
      </p:sp>
      <p:sp>
        <p:nvSpPr>
          <p:cNvPr id="51" name="Rectangle 16">
            <a:extLst>
              <a:ext uri="{FF2B5EF4-FFF2-40B4-BE49-F238E27FC236}">
                <a16:creationId xmlns:a16="http://schemas.microsoft.com/office/drawing/2014/main" id="{17646733-3F5B-57AF-170A-2DE84FB610F7}"/>
              </a:ext>
            </a:extLst>
          </p:cNvPr>
          <p:cNvSpPr>
            <a:spLocks noChangeArrowheads="1"/>
          </p:cNvSpPr>
          <p:nvPr/>
        </p:nvSpPr>
        <p:spPr bwMode="auto">
          <a:xfrm>
            <a:off x="6521696" y="1944794"/>
            <a:ext cx="198526"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t>Texte:</a:t>
            </a:r>
          </a:p>
          <a:p>
            <a:r>
              <a:t>77</a:t>
            </a:r>
          </a:p>
          <a:p>
            <a:r>
              <a:t>83</a:t>
            </a:r>
          </a:p>
          <a:p>
            <a:r>
              <a:t>73</a:t>
            </a:r>
          </a:p>
          <a:p>
            <a:r>
              <a:t>78</a:t>
            </a:r>
          </a:p>
        </p:txBody>
      </p:sp>
      <p:cxnSp>
        <p:nvCxnSpPr>
          <p:cNvPr id="59" name="Rechte verbindingslijn 12">
            <a:extLst>
              <a:ext uri="{FF2B5EF4-FFF2-40B4-BE49-F238E27FC236}">
                <a16:creationId xmlns:a16="http://schemas.microsoft.com/office/drawing/2014/main" id="{78BBD679-C06C-5165-BF8D-C235D5C24CEA}"/>
              </a:ext>
            </a:extLst>
          </p:cNvPr>
          <p:cNvCxnSpPr>
            <a:cxnSpLocks/>
          </p:cNvCxnSpPr>
          <p:nvPr/>
        </p:nvCxnSpPr>
        <p:spPr>
          <a:xfrm flipH="1">
            <a:off x="3756109" y="2209631"/>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0" name="Rectangle 16">
            <a:extLst>
              <a:ext uri="{FF2B5EF4-FFF2-40B4-BE49-F238E27FC236}">
                <a16:creationId xmlns:a16="http://schemas.microsoft.com/office/drawing/2014/main" id="{DB42CE37-2498-7CF3-D913-A8117BEBF9E9}"/>
              </a:ext>
            </a:extLst>
          </p:cNvPr>
          <p:cNvSpPr>
            <a:spLocks noChangeArrowheads="1"/>
          </p:cNvSpPr>
          <p:nvPr/>
        </p:nvSpPr>
        <p:spPr bwMode="auto">
          <a:xfrm>
            <a:off x="7955315" y="1924306"/>
            <a:ext cx="198526"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t>Texte:</a:t>
            </a:r>
          </a:p>
          <a:p>
            <a:r>
              <a:t>77</a:t>
            </a:r>
          </a:p>
          <a:p>
            <a:r>
              <a:t>84</a:t>
            </a:r>
          </a:p>
          <a:p>
            <a:r>
              <a:t>74</a:t>
            </a:r>
          </a:p>
          <a:p>
            <a:r>
              <a:t>77</a:t>
            </a:r>
          </a:p>
          <a:p/>
          <a:p>
            <a:r>
              <a:t>(Note: The text consists of numbers which remain unchanged in translation.)</a:t>
            </a:r>
          </a:p>
        </p:txBody>
      </p:sp>
      <p:sp>
        <p:nvSpPr>
          <p:cNvPr id="73" name="Tekstvak 72">
            <a:extLst>
              <a:ext uri="{FF2B5EF4-FFF2-40B4-BE49-F238E27FC236}">
                <a16:creationId xmlns:a16="http://schemas.microsoft.com/office/drawing/2014/main" id="{0FC518A9-0AF9-E3F0-457A-5A8A7DCF90D4}"/>
              </a:ext>
            </a:extLst>
          </p:cNvPr>
          <p:cNvSpPr txBox="1"/>
          <p:nvPr/>
        </p:nvSpPr>
        <p:spPr>
          <a:xfrm>
            <a:off x="729147" y="3710940"/>
            <a:ext cx="2023552" cy="984885"/>
          </a:xfrm>
          <a:prstGeom prst="rect">
            <a:avLst/>
          </a:prstGeom>
          <a:noFill/>
        </p:spPr>
        <p:txBody>
          <a:bodyPr wrap="square" lIns="0" tIns="0" rIns="0" bIns="0">
            <a:spAutoFit/>
          </a:bodyPr>
          <a:lstStyle/>
          <a:p>
            <a:r>
              <a:t>Texte :</a:t>
            </a:r>
          </a:p>
          <a:p>
            <a:r>
              <a:t>L'objectif pour 2025 sera l'alignement stratégique où vous avez exprimé des préoccupations.</a:t>
            </a:r>
          </a:p>
        </p:txBody>
      </p:sp>
      <p:sp>
        <p:nvSpPr>
          <p:cNvPr id="75" name="Rechthoek met aan één zijde afgeronde hoeken 74">
            <a:extLst>
              <a:ext uri="{FF2B5EF4-FFF2-40B4-BE49-F238E27FC236}">
                <a16:creationId xmlns:a16="http://schemas.microsoft.com/office/drawing/2014/main" id="{97418638-9C81-3564-A656-F9DEE5E4800E}"/>
              </a:ext>
            </a:extLst>
          </p:cNvPr>
          <p:cNvSpPr/>
          <p:nvPr/>
        </p:nvSpPr>
        <p:spPr>
          <a:xfrm>
            <a:off x="3504924" y="1202503"/>
            <a:ext cx="5178700" cy="599291"/>
          </a:xfrm>
          <a:prstGeom prst="round2SameRect">
            <a:avLst>
              <a:gd name="adj1" fmla="val 24383"/>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nl-BE" sz="1400" err="1">
              <a:solidFill>
                <a:schemeClr val="tx1"/>
              </a:solidFill>
              <a:latin typeface="Proximus Bold" panose="00000500000000000000" pitchFamily="2" charset="0"/>
              <a:cs typeface="Proximus Bold"/>
            </a:endParaRPr>
          </a:p>
        </p:txBody>
      </p:sp>
      <p:sp>
        <p:nvSpPr>
          <p:cNvPr id="44" name="!!TIT_stakeholders">
            <a:extLst>
              <a:ext uri="{FF2B5EF4-FFF2-40B4-BE49-F238E27FC236}">
                <a16:creationId xmlns:a16="http://schemas.microsoft.com/office/drawing/2014/main" id="{67737F87-B5EE-F9C5-9818-A18909A9E65E}"/>
              </a:ext>
            </a:extLst>
          </p:cNvPr>
          <p:cNvSpPr txBox="1"/>
          <p:nvPr/>
        </p:nvSpPr>
        <p:spPr>
          <a:xfrm>
            <a:off x="6119120" y="1372800"/>
            <a:ext cx="895080" cy="230832"/>
          </a:xfrm>
          <a:prstGeom prst="rect">
            <a:avLst/>
          </a:prstGeom>
          <a:noFill/>
        </p:spPr>
        <p:txBody>
          <a:bodyPr wrap="square" lIns="0" tIns="0" rIns="0" bIns="0" rtlCol="0">
            <a:spAutoFit/>
          </a:bodyPr>
          <a:lstStyle/>
          <a:p>
            <a:r>
              <a:t>Texte:</a:t>
            </a:r>
          </a:p>
          <a:p>
            <a:r>
              <a:t>Proximus</a:t>
            </a:r>
          </a:p>
        </p:txBody>
      </p:sp>
      <p:sp>
        <p:nvSpPr>
          <p:cNvPr id="45" name="!!TIT_stakeholders">
            <a:extLst>
              <a:ext uri="{FF2B5EF4-FFF2-40B4-BE49-F238E27FC236}">
                <a16:creationId xmlns:a16="http://schemas.microsoft.com/office/drawing/2014/main" id="{C2618057-0B58-E122-CA76-08899926EA4D}"/>
              </a:ext>
            </a:extLst>
          </p:cNvPr>
          <p:cNvSpPr txBox="1"/>
          <p:nvPr/>
        </p:nvSpPr>
        <p:spPr>
          <a:xfrm>
            <a:off x="7590086" y="1372800"/>
            <a:ext cx="895080" cy="230832"/>
          </a:xfrm>
          <a:prstGeom prst="rect">
            <a:avLst/>
          </a:prstGeom>
          <a:noFill/>
        </p:spPr>
        <p:txBody>
          <a:bodyPr wrap="square" lIns="0" tIns="0" rIns="0" bIns="0" rtlCol="0">
            <a:spAutoFit/>
          </a:bodyPr>
          <a:lstStyle/>
          <a:p>
            <a:r>
              <a:t>Texte :</a:t>
            </a:r>
          </a:p>
          <a:p>
            <a:r>
              <a:t>NBU</a:t>
            </a:r>
          </a:p>
        </p:txBody>
      </p:sp>
      <p:sp>
        <p:nvSpPr>
          <p:cNvPr id="63" name="!!TIT_stakeholders">
            <a:extLst>
              <a:ext uri="{FF2B5EF4-FFF2-40B4-BE49-F238E27FC236}">
                <a16:creationId xmlns:a16="http://schemas.microsoft.com/office/drawing/2014/main" id="{8356D0F2-DF90-5632-B633-A1ACFD50F934}"/>
              </a:ext>
            </a:extLst>
          </p:cNvPr>
          <p:cNvSpPr txBox="1"/>
          <p:nvPr/>
        </p:nvSpPr>
        <p:spPr>
          <a:xfrm>
            <a:off x="4295068" y="1369722"/>
            <a:ext cx="895080" cy="230832"/>
          </a:xfrm>
          <a:prstGeom prst="rect">
            <a:avLst/>
          </a:prstGeom>
          <a:noFill/>
        </p:spPr>
        <p:txBody>
          <a:bodyPr wrap="square" lIns="0" tIns="0" rIns="0" bIns="0" rtlCol="0">
            <a:spAutoFit/>
          </a:bodyPr>
          <a:lstStyle/>
          <a:p>
            <a:r>
              <a:t>Texte :</a:t>
            </a:r>
          </a:p>
          <a:p>
            <a:r>
              <a:t>Parlez haut et fort</a:t>
            </a:r>
          </a:p>
        </p:txBody>
      </p:sp>
      <p:pic>
        <p:nvPicPr>
          <p:cNvPr id="65" name="Graphic 64">
            <a:extLst>
              <a:ext uri="{FF2B5EF4-FFF2-40B4-BE49-F238E27FC236}">
                <a16:creationId xmlns:a16="http://schemas.microsoft.com/office/drawing/2014/main" id="{5F5BA36D-533B-71CA-15CD-E9274EF192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95909" y="1371792"/>
            <a:ext cx="383178" cy="246329"/>
          </a:xfrm>
          <a:prstGeom prst="rect">
            <a:avLst/>
          </a:prstGeom>
        </p:spPr>
      </p:pic>
      <p:cxnSp>
        <p:nvCxnSpPr>
          <p:cNvPr id="77" name="Rechte verbindingslijn 12">
            <a:extLst>
              <a:ext uri="{FF2B5EF4-FFF2-40B4-BE49-F238E27FC236}">
                <a16:creationId xmlns:a16="http://schemas.microsoft.com/office/drawing/2014/main" id="{D64953D7-37C8-2E78-8A5D-166E8649B63B}"/>
              </a:ext>
            </a:extLst>
          </p:cNvPr>
          <p:cNvCxnSpPr>
            <a:cxnSpLocks/>
          </p:cNvCxnSpPr>
          <p:nvPr/>
        </p:nvCxnSpPr>
        <p:spPr>
          <a:xfrm flipH="1">
            <a:off x="3756109" y="2620757"/>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8" name="Rechte verbindingslijn 12">
            <a:extLst>
              <a:ext uri="{FF2B5EF4-FFF2-40B4-BE49-F238E27FC236}">
                <a16:creationId xmlns:a16="http://schemas.microsoft.com/office/drawing/2014/main" id="{406A6EE1-2347-56F8-5968-03659FECFAD3}"/>
              </a:ext>
            </a:extLst>
          </p:cNvPr>
          <p:cNvCxnSpPr>
            <a:cxnSpLocks/>
          </p:cNvCxnSpPr>
          <p:nvPr/>
        </p:nvCxnSpPr>
        <p:spPr>
          <a:xfrm flipH="1">
            <a:off x="3756109" y="3017706"/>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9" name="Rechte verbindingslijn 12">
            <a:extLst>
              <a:ext uri="{FF2B5EF4-FFF2-40B4-BE49-F238E27FC236}">
                <a16:creationId xmlns:a16="http://schemas.microsoft.com/office/drawing/2014/main" id="{DCB40D63-3F53-689C-E059-A12EAD59C7EA}"/>
              </a:ext>
            </a:extLst>
          </p:cNvPr>
          <p:cNvCxnSpPr>
            <a:cxnSpLocks/>
          </p:cNvCxnSpPr>
          <p:nvPr/>
        </p:nvCxnSpPr>
        <p:spPr>
          <a:xfrm>
            <a:off x="5761570" y="1273962"/>
            <a:ext cx="0" cy="449943"/>
          </a:xfrm>
          <a:prstGeom prst="line">
            <a:avLst/>
          </a:prstGeom>
          <a:ln w="15875"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86" name="Graphic 85">
            <a:extLst>
              <a:ext uri="{FF2B5EF4-FFF2-40B4-BE49-F238E27FC236}">
                <a16:creationId xmlns:a16="http://schemas.microsoft.com/office/drawing/2014/main" id="{60EDFAA1-9A57-B9E4-14BC-01787B8C57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51250" y="1346292"/>
            <a:ext cx="342900" cy="342900"/>
          </a:xfrm>
          <a:prstGeom prst="rect">
            <a:avLst/>
          </a:prstGeom>
        </p:spPr>
      </p:pic>
      <p:pic>
        <p:nvPicPr>
          <p:cNvPr id="87" name="Graphic 86">
            <a:extLst>
              <a:ext uri="{FF2B5EF4-FFF2-40B4-BE49-F238E27FC236}">
                <a16:creationId xmlns:a16="http://schemas.microsoft.com/office/drawing/2014/main" id="{A5543B9E-6049-C315-20AC-C75C806386E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60375" y="406585"/>
            <a:ext cx="373792" cy="359948"/>
          </a:xfrm>
          <a:prstGeom prst="rect">
            <a:avLst/>
          </a:prstGeom>
        </p:spPr>
      </p:pic>
    </p:spTree>
    <p:extLst>
      <p:ext uri="{BB962C8B-B14F-4D97-AF65-F5344CB8AC3E}">
        <p14:creationId xmlns:p14="http://schemas.microsoft.com/office/powerpoint/2010/main" val="7975521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2BE5BA27-3261-702D-6035-A52A927FDD87}"/>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C9CF0A27-0C0A-B3F5-9295-31B7FA631A98}"/>
              </a:ext>
            </a:extLst>
          </p:cNvPr>
          <p:cNvSpPr txBox="1">
            <a:spLocks/>
          </p:cNvSpPr>
          <p:nvPr/>
        </p:nvSpPr>
        <p:spPr>
          <a:xfrm>
            <a:off x="1470991" y="1393460"/>
            <a:ext cx="2985569" cy="3003611"/>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Autonomisation</a:t>
            </a:r>
          </a:p>
          <a:p>
            <a:r>
              <a:t>Vous aurez un rôle dans notre histoire.</a:t>
            </a:r>
          </a:p>
          <a:p>
            <a:r>
              <a:t>De nombreux projets sont « en cours de construction ».</a:t>
            </a:r>
          </a:p>
          <a:p>
            <a:r>
              <a:t>Nous ne voulons pas d'une pure approche « descendante ».</a:t>
            </a:r>
          </a:p>
          <a:p>
            <a:r>
              <a:t>Vous jouerez un rôle dans la « conception/mise en place » et, bien sûr, lors de la phase de mise en œuvre.</a:t>
            </a:r>
          </a:p>
        </p:txBody>
      </p:sp>
      <p:sp>
        <p:nvSpPr>
          <p:cNvPr id="6" name="Title 5">
            <a:extLst>
              <a:ext uri="{FF2B5EF4-FFF2-40B4-BE49-F238E27FC236}">
                <a16:creationId xmlns:a16="http://schemas.microsoft.com/office/drawing/2014/main" id="{E8A8FDD0-0C39-6697-0CBA-5EAE82161DF3}"/>
              </a:ext>
            </a:extLst>
          </p:cNvPr>
          <p:cNvSpPr>
            <a:spLocks noGrp="1"/>
          </p:cNvSpPr>
          <p:nvPr>
            <p:ph type="title"/>
          </p:nvPr>
        </p:nvSpPr>
        <p:spPr/>
        <p:txBody>
          <a:bodyPr/>
          <a:lstStyle/>
          <a:p>
            <a:r>
              <a:t>Texte :</a:t>
            </a:r>
          </a:p>
          <a:p>
            <a:r>
              <a:t> Ce que nous attendons de vous</a:t>
            </a:r>
          </a:p>
        </p:txBody>
      </p:sp>
      <p:sp>
        <p:nvSpPr>
          <p:cNvPr id="7" name="Text Placeholder 4">
            <a:extLst>
              <a:ext uri="{FF2B5EF4-FFF2-40B4-BE49-F238E27FC236}">
                <a16:creationId xmlns:a16="http://schemas.microsoft.com/office/drawing/2014/main" id="{83B442DF-FAA7-14A6-B908-27F953DACACB}"/>
              </a:ext>
            </a:extLst>
          </p:cNvPr>
          <p:cNvSpPr txBox="1">
            <a:spLocks/>
          </p:cNvSpPr>
          <p:nvPr/>
        </p:nvSpPr>
        <p:spPr>
          <a:xfrm>
            <a:off x="4687442" y="1393460"/>
            <a:ext cx="2985567" cy="3003611"/>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Les comportements appropriés</a:t>
            </a:r>
          </a:p>
        </p:txBody>
      </p:sp>
      <p:pic>
        <p:nvPicPr>
          <p:cNvPr id="9" name="Picture 8" descr="A screenshot of a phone&#10;&#10;Description automatically generated">
            <a:extLst>
              <a:ext uri="{FF2B5EF4-FFF2-40B4-BE49-F238E27FC236}">
                <a16:creationId xmlns:a16="http://schemas.microsoft.com/office/drawing/2014/main" id="{1A20F891-C34A-B5B4-8332-B71F794B1A85}"/>
              </a:ext>
            </a:extLst>
          </p:cNvPr>
          <p:cNvPicPr>
            <a:picLocks noChangeAspect="1"/>
          </p:cNvPicPr>
          <p:nvPr/>
        </p:nvPicPr>
        <p:blipFill>
          <a:blip r:embed="rId3"/>
          <a:srcRect l="31740" t="17127" r="31761" b="17988"/>
          <a:stretch/>
        </p:blipFill>
        <p:spPr>
          <a:xfrm>
            <a:off x="5166433" y="2091194"/>
            <a:ext cx="2027583" cy="2027583"/>
          </a:xfrm>
          <a:prstGeom prst="rect">
            <a:avLst/>
          </a:prstGeom>
        </p:spPr>
      </p:pic>
    </p:spTree>
    <p:extLst>
      <p:ext uri="{BB962C8B-B14F-4D97-AF65-F5344CB8AC3E}">
        <p14:creationId xmlns:p14="http://schemas.microsoft.com/office/powerpoint/2010/main" val="14382317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77882AE-4B6E-A8D4-8707-8FE4264E1247}"/>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8DD860E1-1C87-6C3C-7B95-830D2B1F20D8}"/>
              </a:ext>
            </a:extLst>
          </p:cNvPr>
          <p:cNvSpPr txBox="1">
            <a:spLocks/>
          </p:cNvSpPr>
          <p:nvPr/>
        </p:nvSpPr>
        <p:spPr>
          <a:xfrm>
            <a:off x="460378" y="1282701"/>
            <a:ext cx="2889615" cy="3271837"/>
          </a:xfrm>
          <a:prstGeom prst="roundRect">
            <a:avLst>
              <a:gd name="adj" fmla="val 6593"/>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Fixez le tempo</a:t>
            </a:r>
          </a:p>
          <a:p>
            <a:r>
              <a:t>Gouvernance mixte au niveau du NBU MC</a:t>
            </a:r>
          </a:p>
          <a:p>
            <a:r>
              <a:t>Les initiatives clés sont fermement suivies dans SP1 ou dans le portefeuille de projets NBU MC, ou dans d'autres comités de pilotage</a:t>
            </a:r>
          </a:p>
        </p:txBody>
      </p:sp>
      <p:sp>
        <p:nvSpPr>
          <p:cNvPr id="6" name="Title 5">
            <a:extLst>
              <a:ext uri="{FF2B5EF4-FFF2-40B4-BE49-F238E27FC236}">
                <a16:creationId xmlns:a16="http://schemas.microsoft.com/office/drawing/2014/main" id="{FD9054A2-B11E-6380-3640-A353012F6812}"/>
              </a:ext>
            </a:extLst>
          </p:cNvPr>
          <p:cNvSpPr>
            <a:spLocks noGrp="1"/>
          </p:cNvSpPr>
          <p:nvPr>
            <p:ph type="title"/>
          </p:nvPr>
        </p:nvSpPr>
        <p:spPr/>
        <p:txBody>
          <a:bodyPr/>
          <a:lstStyle/>
          <a:p>
            <a:r>
              <a:t>Texte :</a:t>
            </a:r>
          </a:p>
          <a:p>
            <a:r>
              <a:t> Ce à quoi vous pouvez vous attendre de notre part</a:t>
            </a:r>
          </a:p>
        </p:txBody>
      </p:sp>
      <p:sp>
        <p:nvSpPr>
          <p:cNvPr id="2" name="Text Placeholder 4">
            <a:extLst>
              <a:ext uri="{FF2B5EF4-FFF2-40B4-BE49-F238E27FC236}">
                <a16:creationId xmlns:a16="http://schemas.microsoft.com/office/drawing/2014/main" id="{5280F9A7-7B06-B8E0-7723-4DAD7FF223EC}"/>
              </a:ext>
            </a:extLst>
          </p:cNvPr>
          <p:cNvSpPr txBox="1">
            <a:spLocks/>
          </p:cNvSpPr>
          <p:nvPr/>
        </p:nvSpPr>
        <p:spPr>
          <a:xfrm>
            <a:off x="3581833" y="1282701"/>
            <a:ext cx="1882800" cy="1533525"/>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Donner des moyens</a:t>
            </a:r>
          </a:p>
          <a:p>
            <a:r>
              <a:t>Dynamiques FIN intelligentes OPEX/CAPEX</a:t>
            </a:r>
          </a:p>
        </p:txBody>
      </p:sp>
      <p:sp>
        <p:nvSpPr>
          <p:cNvPr id="4" name="Text Placeholder 4">
            <a:extLst>
              <a:ext uri="{FF2B5EF4-FFF2-40B4-BE49-F238E27FC236}">
                <a16:creationId xmlns:a16="http://schemas.microsoft.com/office/drawing/2014/main" id="{1A74416C-9919-4C8D-7BF0-B931C1EA4639}"/>
              </a:ext>
            </a:extLst>
          </p:cNvPr>
          <p:cNvSpPr txBox="1">
            <a:spLocks/>
          </p:cNvSpPr>
          <p:nvPr/>
        </p:nvSpPr>
        <p:spPr>
          <a:xfrm>
            <a:off x="3581833" y="3021013"/>
            <a:ext cx="1882800" cy="1533525"/>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Style de leadership serviteur</a:t>
            </a:r>
          </a:p>
        </p:txBody>
      </p:sp>
      <p:sp>
        <p:nvSpPr>
          <p:cNvPr id="8" name="Text Placeholder 4">
            <a:extLst>
              <a:ext uri="{FF2B5EF4-FFF2-40B4-BE49-F238E27FC236}">
                <a16:creationId xmlns:a16="http://schemas.microsoft.com/office/drawing/2014/main" id="{8B201A43-81F8-8051-22A1-A573AB070CDB}"/>
              </a:ext>
            </a:extLst>
          </p:cNvPr>
          <p:cNvSpPr txBox="1">
            <a:spLocks/>
          </p:cNvSpPr>
          <p:nvPr/>
        </p:nvSpPr>
        <p:spPr>
          <a:xfrm>
            <a:off x="5696473" y="1282394"/>
            <a:ext cx="2985567" cy="3272144"/>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Les bons comportements</a:t>
            </a:r>
          </a:p>
        </p:txBody>
      </p:sp>
      <p:pic>
        <p:nvPicPr>
          <p:cNvPr id="10" name="Picture 9" descr="A screenshot of a phone&#10;&#10;Description automatically generated">
            <a:extLst>
              <a:ext uri="{FF2B5EF4-FFF2-40B4-BE49-F238E27FC236}">
                <a16:creationId xmlns:a16="http://schemas.microsoft.com/office/drawing/2014/main" id="{C4E8E540-746B-6400-BE0E-5DC6A47A536B}"/>
              </a:ext>
            </a:extLst>
          </p:cNvPr>
          <p:cNvPicPr>
            <a:picLocks noChangeAspect="1"/>
          </p:cNvPicPr>
          <p:nvPr/>
        </p:nvPicPr>
        <p:blipFill>
          <a:blip r:embed="rId3"/>
          <a:srcRect l="31740" t="17127" r="31761" b="17988"/>
          <a:stretch/>
        </p:blipFill>
        <p:spPr>
          <a:xfrm>
            <a:off x="6175464" y="2049463"/>
            <a:ext cx="2027583" cy="2027583"/>
          </a:xfrm>
          <a:prstGeom prst="rect">
            <a:avLst/>
          </a:prstGeom>
        </p:spPr>
      </p:pic>
    </p:spTree>
    <p:extLst>
      <p:ext uri="{BB962C8B-B14F-4D97-AF65-F5344CB8AC3E}">
        <p14:creationId xmlns:p14="http://schemas.microsoft.com/office/powerpoint/2010/main" val="16440835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5061B-43B0-627A-F74B-AB186FD352F2}"/>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87411D91-2D39-8C0E-F691-FBD34F7B4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1553063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9558A72-15A3-27BF-143B-AECF6E8F8A7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C023176-F1A5-58A5-0102-162B292E70EF}"/>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Questions et Réponses</a:t>
            </a:r>
          </a:p>
        </p:txBody>
      </p:sp>
      <p:sp>
        <p:nvSpPr>
          <p:cNvPr id="2" name="TextBox 1">
            <a:extLst>
              <a:ext uri="{FF2B5EF4-FFF2-40B4-BE49-F238E27FC236}">
                <a16:creationId xmlns:a16="http://schemas.microsoft.com/office/drawing/2014/main" id="{1D231AD3-318A-0E21-EFB2-11047B03005B}"/>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grpSp>
        <p:nvGrpSpPr>
          <p:cNvPr id="3" name="Group 2">
            <a:extLst>
              <a:ext uri="{FF2B5EF4-FFF2-40B4-BE49-F238E27FC236}">
                <a16:creationId xmlns:a16="http://schemas.microsoft.com/office/drawing/2014/main" id="{8D2A8E67-A265-0FCF-8F26-1D6E893DAEEF}"/>
              </a:ext>
            </a:extLst>
          </p:cNvPr>
          <p:cNvGrpSpPr/>
          <p:nvPr/>
        </p:nvGrpSpPr>
        <p:grpSpPr>
          <a:xfrm>
            <a:off x="-2572879" y="1330467"/>
            <a:ext cx="2376000" cy="2850482"/>
            <a:chOff x="1034715" y="1437623"/>
            <a:chExt cx="2376000" cy="2850482"/>
          </a:xfrm>
        </p:grpSpPr>
        <p:sp>
          <p:nvSpPr>
            <p:cNvPr id="5" name="Rounded Rectangle 4">
              <a:extLst>
                <a:ext uri="{FF2B5EF4-FFF2-40B4-BE49-F238E27FC236}">
                  <a16:creationId xmlns:a16="http://schemas.microsoft.com/office/drawing/2014/main" id="{ED9D5A0D-F83A-B166-891C-33DBC45EFA51}"/>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6" name="Group 5">
              <a:extLst>
                <a:ext uri="{FF2B5EF4-FFF2-40B4-BE49-F238E27FC236}">
                  <a16:creationId xmlns:a16="http://schemas.microsoft.com/office/drawing/2014/main" id="{1B39F9D3-D207-36DB-281F-00A76A5DA7D7}"/>
                </a:ext>
              </a:extLst>
            </p:cNvPr>
            <p:cNvGrpSpPr/>
            <p:nvPr/>
          </p:nvGrpSpPr>
          <p:grpSpPr>
            <a:xfrm>
              <a:off x="1758834" y="3919743"/>
              <a:ext cx="948471" cy="263470"/>
              <a:chOff x="5411538" y="379361"/>
              <a:chExt cx="613934" cy="170541"/>
            </a:xfrm>
            <a:solidFill>
              <a:srgbClr val="000000"/>
            </a:solidFill>
          </p:grpSpPr>
          <p:sp>
            <p:nvSpPr>
              <p:cNvPr id="8" name="Freeform 7">
                <a:extLst>
                  <a:ext uri="{FF2B5EF4-FFF2-40B4-BE49-F238E27FC236}">
                    <a16:creationId xmlns:a16="http://schemas.microsoft.com/office/drawing/2014/main" id="{BDB4F2B2-614B-A8FF-061F-9A890F95CCE7}"/>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9" name="Freeform 8">
                <a:extLst>
                  <a:ext uri="{FF2B5EF4-FFF2-40B4-BE49-F238E27FC236}">
                    <a16:creationId xmlns:a16="http://schemas.microsoft.com/office/drawing/2014/main" id="{1C0DCF85-0207-EAB2-5DEA-85E6AEF72471}"/>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0" name="Freeform 9">
                <a:extLst>
                  <a:ext uri="{FF2B5EF4-FFF2-40B4-BE49-F238E27FC236}">
                    <a16:creationId xmlns:a16="http://schemas.microsoft.com/office/drawing/2014/main" id="{BB1965A3-DF87-343E-45EA-5EDAA4A50D16}"/>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7" name="Afbeelding 4">
              <a:extLst>
                <a:ext uri="{FF2B5EF4-FFF2-40B4-BE49-F238E27FC236}">
                  <a16:creationId xmlns:a16="http://schemas.microsoft.com/office/drawing/2014/main" id="{78C2A4F4-96A7-88D9-0731-5F4114DF5F8D}"/>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295530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4D84D4D-A99B-8F99-6405-BAE4265EBF5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0379992-8BF4-508E-A226-B1D913557F48}"/>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r>
              <a:t>Texte :</a:t>
            </a:r>
          </a:p>
          <a:p>
            <a:r>
              <a:t>Merci !</a:t>
            </a:r>
          </a:p>
        </p:txBody>
      </p:sp>
      <p:sp>
        <p:nvSpPr>
          <p:cNvPr id="2" name="TextBox 1">
            <a:extLst>
              <a:ext uri="{FF2B5EF4-FFF2-40B4-BE49-F238E27FC236}">
                <a16:creationId xmlns:a16="http://schemas.microsoft.com/office/drawing/2014/main" id="{424A1247-F1CA-F225-F1C4-D9114BFA12DD}"/>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1990292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9C846327-F9D1-6D6F-62F6-6461422E83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7EAD97-F2B1-5549-2AA1-2DDE88C3EFB2}"/>
              </a:ext>
            </a:extLst>
          </p:cNvPr>
          <p:cNvSpPr>
            <a:spLocks noGrp="1"/>
          </p:cNvSpPr>
          <p:nvPr>
            <p:ph type="title"/>
          </p:nvPr>
        </p:nvSpPr>
        <p:spPr>
          <a:xfrm>
            <a:off x="451379" y="1243750"/>
            <a:ext cx="8221663" cy="2656001"/>
          </a:xfrm>
        </p:spPr>
        <p:txBody>
          <a:bodyPr anchor="ctr"/>
          <a:lstStyle/>
          <a:p>
            <a:r>
              <a:t>Texte :</a:t>
            </a:r>
          </a:p>
          <a:p>
            <a:r>
              <a:t>Tous NBU</a:t>
            </a:r>
          </a:p>
          <a:p>
            <a:r>
              <a:t>Stratégie</a:t>
            </a:r>
          </a:p>
          <a:p>
            <a:r>
              <a:t>Cascade</a:t>
            </a:r>
          </a:p>
        </p:txBody>
      </p:sp>
      <p:sp>
        <p:nvSpPr>
          <p:cNvPr id="3" name="!!Subtitle 2">
            <a:extLst>
              <a:ext uri="{FF2B5EF4-FFF2-40B4-BE49-F238E27FC236}">
                <a16:creationId xmlns:a16="http://schemas.microsoft.com/office/drawing/2014/main" id="{7C09E49E-D54F-3D20-58CA-F005A0EFA005}"/>
              </a:ext>
            </a:extLst>
          </p:cNvPr>
          <p:cNvSpPr>
            <a:spLocks noGrp="1"/>
          </p:cNvSpPr>
          <p:nvPr>
            <p:ph type="subTitle" idx="1"/>
          </p:nvPr>
        </p:nvSpPr>
        <p:spPr>
          <a:xfrm>
            <a:off x="469308" y="3672590"/>
            <a:ext cx="8221663" cy="735037"/>
          </a:xfrm>
        </p:spPr>
        <p:txBody>
          <a:bodyPr/>
          <a:lstStyle/>
          <a:p>
            <a:r>
              <a:t>Texte :</a:t>
            </a:r>
          </a:p>
          <a:p>
            <a:r>
              <a:t>04.02.2025</a:t>
            </a:r>
          </a:p>
        </p:txBody>
      </p:sp>
      <p:pic>
        <p:nvPicPr>
          <p:cNvPr id="6" name="!!px_logo">
            <a:extLst>
              <a:ext uri="{FF2B5EF4-FFF2-40B4-BE49-F238E27FC236}">
                <a16:creationId xmlns:a16="http://schemas.microsoft.com/office/drawing/2014/main" id="{22EF5F6E-E95A-71DE-1BD0-68F85D7810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0375" y="4279105"/>
            <a:ext cx="684532" cy="554831"/>
          </a:xfrm>
          <a:prstGeom prst="rect">
            <a:avLst/>
          </a:prstGeom>
        </p:spPr>
      </p:pic>
      <p:pic>
        <p:nvPicPr>
          <p:cNvPr id="8" name="Graphic 7">
            <a:extLst>
              <a:ext uri="{FF2B5EF4-FFF2-40B4-BE49-F238E27FC236}">
                <a16:creationId xmlns:a16="http://schemas.microsoft.com/office/drawing/2014/main" id="{D37DF569-15FB-F1A9-84EB-DB7E94A325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1403" y="413544"/>
            <a:ext cx="3762474" cy="4316413"/>
          </a:xfrm>
          <a:prstGeom prst="rect">
            <a:avLst/>
          </a:prstGeom>
        </p:spPr>
      </p:pic>
    </p:spTree>
    <p:extLst>
      <p:ext uri="{BB962C8B-B14F-4D97-AF65-F5344CB8AC3E}">
        <p14:creationId xmlns:p14="http://schemas.microsoft.com/office/powerpoint/2010/main" val="94410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5D93F-8D6B-6B48-83A4-A6D54B433F3A}"/>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7579D97A-C236-33CD-43C1-DCD4678BBA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4289759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3FBAFE4-0067-131C-7690-B4BD618BEF4E}"/>
            </a:ext>
          </a:extLst>
        </p:cNvPr>
        <p:cNvGrpSpPr/>
        <p:nvPr/>
      </p:nvGrpSpPr>
      <p:grpSpPr>
        <a:xfrm>
          <a:off x="0" y="0"/>
          <a:ext cx="0" cy="0"/>
          <a:chOff x="0" y="0"/>
          <a:chExt cx="0" cy="0"/>
        </a:xfrm>
      </p:grpSpPr>
      <p:sp>
        <p:nvSpPr>
          <p:cNvPr id="59394" name="!!TXT_technology">
            <a:extLst>
              <a:ext uri="{FF2B5EF4-FFF2-40B4-BE49-F238E27FC236}">
                <a16:creationId xmlns:a16="http://schemas.microsoft.com/office/drawing/2014/main" id="{97479C62-4525-2E80-4567-C5ABBF7F3449}"/>
              </a:ext>
            </a:extLst>
          </p:cNvPr>
          <p:cNvSpPr txBox="1"/>
          <p:nvPr/>
        </p:nvSpPr>
        <p:spPr>
          <a:xfrm>
            <a:off x="5872134" y="3043444"/>
            <a:ext cx="2631281" cy="337913"/>
          </a:xfrm>
          <a:prstGeom prst="rect">
            <a:avLst/>
          </a:prstGeom>
          <a:noFill/>
        </p:spPr>
        <p:txBody>
          <a:bodyPr wrap="square" lIns="0" tIns="0" rIns="0" bIns="0" rtlCol="0">
            <a:spAutoFit/>
          </a:bodyPr>
          <a:lstStyle/>
          <a:p>
            <a:r>
              <a:t>Texte :</a:t>
            </a:r>
          </a:p>
          <a:p>
            <a:r>
              <a:t>Ingénierie des actifs technologiques</a:t>
            </a:r>
          </a:p>
          <a:p>
            <a:r>
              <a:t>pour permettre les écosystèmes numériques</a:t>
            </a:r>
          </a:p>
        </p:txBody>
      </p:sp>
      <p:grpSp>
        <p:nvGrpSpPr>
          <p:cNvPr id="59395" name="Group 24">
            <a:extLst>
              <a:ext uri="{FF2B5EF4-FFF2-40B4-BE49-F238E27FC236}">
                <a16:creationId xmlns:a16="http://schemas.microsoft.com/office/drawing/2014/main" id="{14E00551-E8E4-976E-BAA8-165464BFE961}"/>
              </a:ext>
            </a:extLst>
          </p:cNvPr>
          <p:cNvGrpSpPr/>
          <p:nvPr/>
        </p:nvGrpSpPr>
        <p:grpSpPr>
          <a:xfrm>
            <a:off x="6868521" y="2324276"/>
            <a:ext cx="648000" cy="648000"/>
            <a:chOff x="9471976" y="4753455"/>
            <a:chExt cx="864000" cy="864000"/>
          </a:xfrm>
        </p:grpSpPr>
        <p:sp>
          <p:nvSpPr>
            <p:cNvPr id="59397" name="!!OVAL_technology">
              <a:extLst>
                <a:ext uri="{FF2B5EF4-FFF2-40B4-BE49-F238E27FC236}">
                  <a16:creationId xmlns:a16="http://schemas.microsoft.com/office/drawing/2014/main" id="{15091E09-BF86-1278-F51E-C2F9D6844817}"/>
                </a:ext>
              </a:extLst>
            </p:cNvPr>
            <p:cNvSpPr>
              <a:spLocks noChangeAspect="1"/>
            </p:cNvSpPr>
            <p:nvPr/>
          </p:nvSpPr>
          <p:spPr>
            <a:xfrm>
              <a:off x="9471976" y="4753455"/>
              <a:ext cx="864000" cy="864000"/>
            </a:xfrm>
            <a:prstGeom prst="ellipse">
              <a:avLst/>
            </a:prstGeom>
            <a:gradFill flip="none" rotWithShape="1">
              <a:gsLst>
                <a:gs pos="0">
                  <a:srgbClr val="1AA7C5"/>
                </a:gs>
                <a:gs pos="100000">
                  <a:srgbClr val="41AC7E"/>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398" name="!!ICON_technology">
              <a:extLst>
                <a:ext uri="{FF2B5EF4-FFF2-40B4-BE49-F238E27FC236}">
                  <a16:creationId xmlns:a16="http://schemas.microsoft.com/office/drawing/2014/main" id="{E3041BF8-AB41-BA35-9F77-CE67C834652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664780" y="4937121"/>
              <a:ext cx="480000" cy="480000"/>
            </a:xfrm>
            <a:prstGeom prst="rect">
              <a:avLst/>
            </a:prstGeom>
          </p:spPr>
        </p:pic>
      </p:grpSp>
      <p:sp>
        <p:nvSpPr>
          <p:cNvPr id="59400" name="!!TXT_network">
            <a:extLst>
              <a:ext uri="{FF2B5EF4-FFF2-40B4-BE49-F238E27FC236}">
                <a16:creationId xmlns:a16="http://schemas.microsoft.com/office/drawing/2014/main" id="{E8DA3709-F0BC-47CA-9D78-7297BB80C475}"/>
              </a:ext>
            </a:extLst>
          </p:cNvPr>
          <p:cNvSpPr txBox="1"/>
          <p:nvPr/>
        </p:nvSpPr>
        <p:spPr>
          <a:xfrm>
            <a:off x="6247615" y="1803046"/>
            <a:ext cx="1889815" cy="337978"/>
          </a:xfrm>
          <a:prstGeom prst="rect">
            <a:avLst/>
          </a:prstGeom>
          <a:noFill/>
        </p:spPr>
        <p:txBody>
          <a:bodyPr wrap="square" lIns="0" tIns="0" rIns="0" bIns="0" rtlCol="0">
            <a:spAutoFit/>
          </a:bodyPr>
          <a:lstStyle/>
          <a:p>
            <a:r>
              <a:t>Texte :</a:t>
            </a:r>
          </a:p>
          <a:p>
            <a:r>
              <a:t>Déployer le réseau #1 gigabit pour la Belgique</a:t>
            </a:r>
          </a:p>
        </p:txBody>
      </p:sp>
      <p:grpSp>
        <p:nvGrpSpPr>
          <p:cNvPr id="59402" name="Group 22">
            <a:extLst>
              <a:ext uri="{FF2B5EF4-FFF2-40B4-BE49-F238E27FC236}">
                <a16:creationId xmlns:a16="http://schemas.microsoft.com/office/drawing/2014/main" id="{300BB547-52A3-EAC3-81BB-F4668C97DA30}"/>
              </a:ext>
            </a:extLst>
          </p:cNvPr>
          <p:cNvGrpSpPr/>
          <p:nvPr/>
        </p:nvGrpSpPr>
        <p:grpSpPr>
          <a:xfrm>
            <a:off x="6868521" y="1122450"/>
            <a:ext cx="648000" cy="648000"/>
            <a:chOff x="9471976" y="3124606"/>
            <a:chExt cx="864000" cy="864000"/>
          </a:xfrm>
        </p:grpSpPr>
        <p:sp>
          <p:nvSpPr>
            <p:cNvPr id="59404" name="!!OVAL_network">
              <a:extLst>
                <a:ext uri="{FF2B5EF4-FFF2-40B4-BE49-F238E27FC236}">
                  <a16:creationId xmlns:a16="http://schemas.microsoft.com/office/drawing/2014/main" id="{036162B7-2978-7D0D-4698-4EFAE3FEB133}"/>
                </a:ext>
              </a:extLst>
            </p:cNvPr>
            <p:cNvSpPr>
              <a:spLocks noChangeAspect="1"/>
            </p:cNvSpPr>
            <p:nvPr/>
          </p:nvSpPr>
          <p:spPr>
            <a:xfrm>
              <a:off x="9471976" y="3124606"/>
              <a:ext cx="864000" cy="864000"/>
            </a:xfrm>
            <a:prstGeom prst="ellipse">
              <a:avLst/>
            </a:prstGeom>
            <a:gradFill flip="none" rotWithShape="1">
              <a:gsLst>
                <a:gs pos="0">
                  <a:srgbClr val="E70462"/>
                </a:gs>
                <a:gs pos="100000">
                  <a:srgbClr val="BA2F58"/>
                </a:gs>
              </a:gsLst>
              <a:lin ang="162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06" name="!!ICON_network">
              <a:extLst>
                <a:ext uri="{FF2B5EF4-FFF2-40B4-BE49-F238E27FC236}">
                  <a16:creationId xmlns:a16="http://schemas.microsoft.com/office/drawing/2014/main" id="{0C06AC26-56E1-3473-2B8D-FD91C3E703D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709933" y="3357535"/>
              <a:ext cx="385883" cy="378164"/>
            </a:xfrm>
            <a:prstGeom prst="rect">
              <a:avLst/>
            </a:prstGeom>
          </p:spPr>
        </p:pic>
      </p:grpSp>
      <p:sp>
        <p:nvSpPr>
          <p:cNvPr id="59408" name="!!TXT_engaging">
            <a:extLst>
              <a:ext uri="{FF2B5EF4-FFF2-40B4-BE49-F238E27FC236}">
                <a16:creationId xmlns:a16="http://schemas.microsoft.com/office/drawing/2014/main" id="{44039A89-E94A-8F70-E754-2FE0D72B5BB2}"/>
              </a:ext>
            </a:extLst>
          </p:cNvPr>
          <p:cNvSpPr txBox="1"/>
          <p:nvPr/>
        </p:nvSpPr>
        <p:spPr>
          <a:xfrm>
            <a:off x="5972773" y="4260435"/>
            <a:ext cx="2430000" cy="337978"/>
          </a:xfrm>
          <a:prstGeom prst="rect">
            <a:avLst/>
          </a:prstGeom>
          <a:noFill/>
        </p:spPr>
        <p:txBody>
          <a:bodyPr wrap="square" lIns="0" tIns="0" rIns="0" bIns="0" rtlCol="0">
            <a:spAutoFit/>
          </a:bodyPr>
          <a:lstStyle/>
          <a:p>
            <a:r>
              <a:t>Texte:</a:t>
            </a:r>
          </a:p>
          <a:p>
            <a:r>
              <a:t>Cultiver une culture engageante et des méthodes de travail autonomisantes</a:t>
            </a:r>
          </a:p>
        </p:txBody>
      </p:sp>
      <p:grpSp>
        <p:nvGrpSpPr>
          <p:cNvPr id="59410" name="Group 20">
            <a:extLst>
              <a:ext uri="{FF2B5EF4-FFF2-40B4-BE49-F238E27FC236}">
                <a16:creationId xmlns:a16="http://schemas.microsoft.com/office/drawing/2014/main" id="{EC0647AA-A68A-1F36-AF22-371176FD12C6}"/>
              </a:ext>
            </a:extLst>
          </p:cNvPr>
          <p:cNvGrpSpPr/>
          <p:nvPr/>
        </p:nvGrpSpPr>
        <p:grpSpPr>
          <a:xfrm>
            <a:off x="6868797" y="3565091"/>
            <a:ext cx="648000" cy="648000"/>
            <a:chOff x="9471976" y="1496600"/>
            <a:chExt cx="864000" cy="864000"/>
          </a:xfrm>
        </p:grpSpPr>
        <p:sp>
          <p:nvSpPr>
            <p:cNvPr id="59411" name="!!OVAL_engaging">
              <a:extLst>
                <a:ext uri="{FF2B5EF4-FFF2-40B4-BE49-F238E27FC236}">
                  <a16:creationId xmlns:a16="http://schemas.microsoft.com/office/drawing/2014/main" id="{CD3A6A7B-D197-EEAA-397E-BF5AFE113542}"/>
                </a:ext>
              </a:extLst>
            </p:cNvPr>
            <p:cNvSpPr>
              <a:spLocks noChangeAspect="1"/>
            </p:cNvSpPr>
            <p:nvPr/>
          </p:nvSpPr>
          <p:spPr>
            <a:xfrm>
              <a:off x="9471976" y="1496600"/>
              <a:ext cx="864000" cy="864000"/>
            </a:xfrm>
            <a:prstGeom prst="ellipse">
              <a:avLst/>
            </a:prstGeom>
            <a:gradFill flip="none" rotWithShape="1">
              <a:gsLst>
                <a:gs pos="0">
                  <a:srgbClr val="18A7CA"/>
                </a:gs>
                <a:gs pos="100000">
                  <a:srgbClr val="2E63CE"/>
                </a:gs>
              </a:gsLst>
              <a:lin ang="135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14" name="!!ICON_engaging">
              <a:extLst>
                <a:ext uri="{FF2B5EF4-FFF2-40B4-BE49-F238E27FC236}">
                  <a16:creationId xmlns:a16="http://schemas.microsoft.com/office/drawing/2014/main" id="{77BC0D10-52E8-923A-3A98-07D6FABDA86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674231" y="1668781"/>
              <a:ext cx="461176" cy="461176"/>
            </a:xfrm>
            <a:prstGeom prst="rect">
              <a:avLst/>
            </a:prstGeom>
          </p:spPr>
        </p:pic>
      </p:grpSp>
      <p:sp>
        <p:nvSpPr>
          <p:cNvPr id="59415" name="!!TXT_strengths">
            <a:extLst>
              <a:ext uri="{FF2B5EF4-FFF2-40B4-BE49-F238E27FC236}">
                <a16:creationId xmlns:a16="http://schemas.microsoft.com/office/drawing/2014/main" id="{38F0A5E1-F891-1414-46D3-01EC68B11774}"/>
              </a:ext>
            </a:extLst>
          </p:cNvPr>
          <p:cNvSpPr txBox="1"/>
          <p:nvPr/>
        </p:nvSpPr>
        <p:spPr>
          <a:xfrm>
            <a:off x="6238120" y="500274"/>
            <a:ext cx="1899310" cy="461665"/>
          </a:xfrm>
          <a:prstGeom prst="rect">
            <a:avLst/>
          </a:prstGeom>
          <a:noFill/>
        </p:spPr>
        <p:txBody>
          <a:bodyPr wrap="square" lIns="0" tIns="0" rIns="0" bIns="0" rtlCol="0">
            <a:spAutoFit/>
          </a:bodyPr>
          <a:lstStyle/>
          <a:p>
            <a:r>
              <a:t>Texte :</a:t>
            </a:r>
          </a:p>
          <a:p>
            <a:r>
              <a:t>à travers des forces exceptionnelles</a:t>
            </a:r>
          </a:p>
        </p:txBody>
      </p:sp>
      <p:sp>
        <p:nvSpPr>
          <p:cNvPr id="59416" name="!!TXT_brands">
            <a:extLst>
              <a:ext uri="{FF2B5EF4-FFF2-40B4-BE49-F238E27FC236}">
                <a16:creationId xmlns:a16="http://schemas.microsoft.com/office/drawing/2014/main" id="{1D94719F-CCF7-A59D-9972-6484DEA5A10D}"/>
              </a:ext>
            </a:extLst>
          </p:cNvPr>
          <p:cNvSpPr txBox="1"/>
          <p:nvPr/>
        </p:nvSpPr>
        <p:spPr>
          <a:xfrm>
            <a:off x="2752790" y="4257603"/>
            <a:ext cx="2631281" cy="337978"/>
          </a:xfrm>
          <a:prstGeom prst="rect">
            <a:avLst/>
          </a:prstGeom>
          <a:noFill/>
        </p:spPr>
        <p:txBody>
          <a:bodyPr wrap="square" lIns="0" tIns="0" rIns="0" bIns="0" rtlCol="0">
            <a:spAutoFit/>
          </a:bodyPr>
          <a:lstStyle/>
          <a:p>
            <a:r>
              <a:t>Texte :</a:t>
            </a:r>
          </a:p>
          <a:p>
            <a:r>
              <a:t>Croître de manière rentable localement &amp;</a:t>
            </a:r>
          </a:p>
          <a:p>
            <a:r>
              <a:t>mondialement à travers des marques fortes</a:t>
            </a:r>
          </a:p>
        </p:txBody>
      </p:sp>
      <p:grpSp>
        <p:nvGrpSpPr>
          <p:cNvPr id="59417" name="Group 19">
            <a:extLst>
              <a:ext uri="{FF2B5EF4-FFF2-40B4-BE49-F238E27FC236}">
                <a16:creationId xmlns:a16="http://schemas.microsoft.com/office/drawing/2014/main" id="{538D28B4-5B45-A871-99C1-CD761F79828A}"/>
              </a:ext>
            </a:extLst>
          </p:cNvPr>
          <p:cNvGrpSpPr/>
          <p:nvPr/>
        </p:nvGrpSpPr>
        <p:grpSpPr>
          <a:xfrm>
            <a:off x="3744428" y="3565091"/>
            <a:ext cx="648000" cy="648000"/>
            <a:chOff x="5577921" y="4753455"/>
            <a:chExt cx="864000" cy="864000"/>
          </a:xfrm>
        </p:grpSpPr>
        <p:sp>
          <p:nvSpPr>
            <p:cNvPr id="59418" name="!!OVAL_brands">
              <a:extLst>
                <a:ext uri="{FF2B5EF4-FFF2-40B4-BE49-F238E27FC236}">
                  <a16:creationId xmlns:a16="http://schemas.microsoft.com/office/drawing/2014/main" id="{D40C7E63-5EDE-F0C3-3379-3D96833BAD14}"/>
                </a:ext>
              </a:extLst>
            </p:cNvPr>
            <p:cNvSpPr>
              <a:spLocks noChangeAspect="1"/>
            </p:cNvSpPr>
            <p:nvPr/>
          </p:nvSpPr>
          <p:spPr>
            <a:xfrm>
              <a:off x="5577921" y="4753455"/>
              <a:ext cx="864000" cy="864000"/>
            </a:xfrm>
            <a:prstGeom prst="ellipse">
              <a:avLst/>
            </a:prstGeom>
            <a:gradFill flip="none" rotWithShape="1">
              <a:gsLst>
                <a:gs pos="0">
                  <a:srgbClr val="623DAC"/>
                </a:gs>
                <a:gs pos="100000">
                  <a:srgbClr val="A42F88"/>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19" name="!!ICON_brands">
              <a:extLst>
                <a:ext uri="{FF2B5EF4-FFF2-40B4-BE49-F238E27FC236}">
                  <a16:creationId xmlns:a16="http://schemas.microsoft.com/office/drawing/2014/main" id="{14583768-0BDC-55C1-E379-7F17614AF5D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790747" y="4964026"/>
              <a:ext cx="436153" cy="357647"/>
            </a:xfrm>
            <a:prstGeom prst="rect">
              <a:avLst/>
            </a:prstGeom>
          </p:spPr>
        </p:pic>
      </p:grpSp>
      <p:sp>
        <p:nvSpPr>
          <p:cNvPr id="59420" name="!!TXT_experience">
            <a:extLst>
              <a:ext uri="{FF2B5EF4-FFF2-40B4-BE49-F238E27FC236}">
                <a16:creationId xmlns:a16="http://schemas.microsoft.com/office/drawing/2014/main" id="{B4B843C8-FB99-DB38-752B-7C77950DB103}"/>
              </a:ext>
            </a:extLst>
          </p:cNvPr>
          <p:cNvSpPr txBox="1"/>
          <p:nvPr/>
        </p:nvSpPr>
        <p:spPr>
          <a:xfrm>
            <a:off x="3123523" y="3043444"/>
            <a:ext cx="1889815" cy="337913"/>
          </a:xfrm>
          <a:prstGeom prst="rect">
            <a:avLst/>
          </a:prstGeom>
          <a:noFill/>
        </p:spPr>
        <p:txBody>
          <a:bodyPr wrap="square" lIns="0" tIns="0" rIns="0" bIns="0" rtlCol="0">
            <a:spAutoFit/>
          </a:bodyPr>
          <a:lstStyle/>
          <a:p>
            <a:r>
              <a:t>Texte:</a:t>
            </a:r>
          </a:p>
          <a:p>
            <a:r>
              <a:t>Ravir les clients avec une expérience sans égal</a:t>
            </a:r>
          </a:p>
        </p:txBody>
      </p:sp>
      <p:grpSp>
        <p:nvGrpSpPr>
          <p:cNvPr id="59421" name="Group 18">
            <a:extLst>
              <a:ext uri="{FF2B5EF4-FFF2-40B4-BE49-F238E27FC236}">
                <a16:creationId xmlns:a16="http://schemas.microsoft.com/office/drawing/2014/main" id="{805527BE-EF1C-B2E0-1320-E6FC1794C915}"/>
              </a:ext>
            </a:extLst>
          </p:cNvPr>
          <p:cNvGrpSpPr/>
          <p:nvPr/>
        </p:nvGrpSpPr>
        <p:grpSpPr>
          <a:xfrm>
            <a:off x="3744428" y="2324276"/>
            <a:ext cx="648000" cy="648000"/>
            <a:chOff x="5577921" y="3124606"/>
            <a:chExt cx="864000" cy="864000"/>
          </a:xfrm>
        </p:grpSpPr>
        <p:sp>
          <p:nvSpPr>
            <p:cNvPr id="59422" name="!!OVAL_experience">
              <a:extLst>
                <a:ext uri="{FF2B5EF4-FFF2-40B4-BE49-F238E27FC236}">
                  <a16:creationId xmlns:a16="http://schemas.microsoft.com/office/drawing/2014/main" id="{028E7544-FCEA-3AE3-73F0-2979BBA4F215}"/>
                </a:ext>
              </a:extLst>
            </p:cNvPr>
            <p:cNvSpPr>
              <a:spLocks noChangeAspect="1"/>
            </p:cNvSpPr>
            <p:nvPr/>
          </p:nvSpPr>
          <p:spPr>
            <a:xfrm>
              <a:off x="5577921" y="3124606"/>
              <a:ext cx="864000" cy="864000"/>
            </a:xfrm>
            <a:prstGeom prst="ellipse">
              <a:avLst/>
            </a:prstGeom>
            <a:gradFill flip="none" rotWithShape="1">
              <a:gsLst>
                <a:gs pos="0">
                  <a:srgbClr val="F98705"/>
                </a:gs>
                <a:gs pos="100000">
                  <a:srgbClr val="E06324"/>
                </a:gs>
              </a:gsLst>
              <a:lin ang="16200000" scaled="1"/>
              <a:tileRect/>
            </a:gradFill>
            <a:ln>
              <a:noFill/>
            </a:ln>
            <a:effectLst/>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23" name="!!ICON_experience">
              <a:extLst>
                <a:ext uri="{FF2B5EF4-FFF2-40B4-BE49-F238E27FC236}">
                  <a16:creationId xmlns:a16="http://schemas.microsoft.com/office/drawing/2014/main" id="{FF3AE577-A275-F961-0B9C-CA7B5D7857A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811677" y="3301212"/>
              <a:ext cx="395293" cy="459643"/>
            </a:xfrm>
            <a:prstGeom prst="rect">
              <a:avLst/>
            </a:prstGeom>
          </p:spPr>
        </p:pic>
      </p:grpSp>
      <p:sp>
        <p:nvSpPr>
          <p:cNvPr id="59424" name="!!TXT_sustainable">
            <a:extLst>
              <a:ext uri="{FF2B5EF4-FFF2-40B4-BE49-F238E27FC236}">
                <a16:creationId xmlns:a16="http://schemas.microsoft.com/office/drawing/2014/main" id="{F8F6F11E-4E9E-DAB9-A6B1-BAC2FB6273C7}"/>
              </a:ext>
            </a:extLst>
          </p:cNvPr>
          <p:cNvSpPr txBox="1"/>
          <p:nvPr/>
        </p:nvSpPr>
        <p:spPr>
          <a:xfrm>
            <a:off x="2853428" y="1817602"/>
            <a:ext cx="2430000" cy="337978"/>
          </a:xfrm>
          <a:prstGeom prst="rect">
            <a:avLst/>
          </a:prstGeom>
          <a:noFill/>
        </p:spPr>
        <p:txBody>
          <a:bodyPr wrap="square" lIns="0" tIns="0" rIns="0" bIns="0" rtlCol="0">
            <a:spAutoFit/>
          </a:bodyPr>
          <a:lstStyle/>
          <a:p>
            <a:r>
              <a:t>Texte :</a:t>
            </a:r>
          </a:p>
          <a:p>
            <a:r>
              <a:t>Agir pour une société inclusive &amp;</a:t>
            </a:r>
          </a:p>
          <a:p>
            <a:r>
              <a:t>être durable dans tout ce que nous faisons</a:t>
            </a:r>
          </a:p>
        </p:txBody>
      </p:sp>
      <p:sp>
        <p:nvSpPr>
          <p:cNvPr id="59425" name="!!TIT_stakeholders">
            <a:extLst>
              <a:ext uri="{FF2B5EF4-FFF2-40B4-BE49-F238E27FC236}">
                <a16:creationId xmlns:a16="http://schemas.microsoft.com/office/drawing/2014/main" id="{2397896E-0211-3DFB-E0E3-86331B0243DC}"/>
              </a:ext>
            </a:extLst>
          </p:cNvPr>
          <p:cNvSpPr txBox="1"/>
          <p:nvPr/>
        </p:nvSpPr>
        <p:spPr>
          <a:xfrm>
            <a:off x="2853431" y="503482"/>
            <a:ext cx="2429999" cy="461665"/>
          </a:xfrm>
          <a:prstGeom prst="rect">
            <a:avLst/>
          </a:prstGeom>
          <a:noFill/>
        </p:spPr>
        <p:txBody>
          <a:bodyPr wrap="square" lIns="0" tIns="0" rIns="0" bIns="0" rtlCol="0">
            <a:spAutoFit/>
          </a:bodyPr>
          <a:lstStyle/>
          <a:p>
            <a:r>
              <a:t>Texte :</a:t>
            </a:r>
          </a:p>
          <a:p>
            <a:r>
              <a:t>Nous offrons une grande valeur à nos parties prenantes</a:t>
            </a:r>
          </a:p>
        </p:txBody>
      </p:sp>
      <p:grpSp>
        <p:nvGrpSpPr>
          <p:cNvPr id="59426" name="Group 15">
            <a:extLst>
              <a:ext uri="{FF2B5EF4-FFF2-40B4-BE49-F238E27FC236}">
                <a16:creationId xmlns:a16="http://schemas.microsoft.com/office/drawing/2014/main" id="{179E5B7D-826F-9CDF-5BE1-46383A095591}"/>
              </a:ext>
            </a:extLst>
          </p:cNvPr>
          <p:cNvGrpSpPr/>
          <p:nvPr/>
        </p:nvGrpSpPr>
        <p:grpSpPr>
          <a:xfrm>
            <a:off x="3744428" y="1122450"/>
            <a:ext cx="648000" cy="648000"/>
            <a:chOff x="5713050" y="1751390"/>
            <a:chExt cx="2399998" cy="2399998"/>
          </a:xfrm>
        </p:grpSpPr>
        <p:sp>
          <p:nvSpPr>
            <p:cNvPr id="59427" name="!!OVAL_sustainable">
              <a:extLst>
                <a:ext uri="{FF2B5EF4-FFF2-40B4-BE49-F238E27FC236}">
                  <a16:creationId xmlns:a16="http://schemas.microsoft.com/office/drawing/2014/main" id="{3687532E-C3C7-47D6-80FC-C29EF5C804F2}"/>
                </a:ext>
              </a:extLst>
            </p:cNvPr>
            <p:cNvSpPr>
              <a:spLocks noChangeAspect="1"/>
            </p:cNvSpPr>
            <p:nvPr/>
          </p:nvSpPr>
          <p:spPr>
            <a:xfrm>
              <a:off x="5713050" y="1751390"/>
              <a:ext cx="2399998" cy="2399998"/>
            </a:xfrm>
            <a:prstGeom prst="ellipse">
              <a:avLst/>
            </a:prstGeom>
            <a:gradFill flip="none" rotWithShape="1">
              <a:gsLst>
                <a:gs pos="0">
                  <a:srgbClr val="5CB34B"/>
                </a:gs>
                <a:gs pos="100000">
                  <a:srgbClr val="54A265"/>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28" name="!!ICON_sustainable">
              <a:extLst>
                <a:ext uri="{FF2B5EF4-FFF2-40B4-BE49-F238E27FC236}">
                  <a16:creationId xmlns:a16="http://schemas.microsoft.com/office/drawing/2014/main" id="{BBF986DC-44A4-D3CE-905D-7FF4D0DA681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280911" y="2286698"/>
              <a:ext cx="1199999" cy="1333332"/>
            </a:xfrm>
            <a:prstGeom prst="rect">
              <a:avLst/>
            </a:prstGeom>
          </p:spPr>
        </p:pic>
      </p:grpSp>
      <p:sp>
        <p:nvSpPr>
          <p:cNvPr id="3" name="Slide Number Placeholder 2">
            <a:extLst>
              <a:ext uri="{FF2B5EF4-FFF2-40B4-BE49-F238E27FC236}">
                <a16:creationId xmlns:a16="http://schemas.microsoft.com/office/drawing/2014/main" id="{7D8ED881-7D65-0F5B-44F7-B97858E0D2B8}"/>
              </a:ext>
            </a:extLst>
          </p:cNvPr>
          <p:cNvSpPr>
            <a:spLocks noGrp="1"/>
          </p:cNvSpPr>
          <p:nvPr>
            <p:ph type="sldNum" sz="quarter" idx="4294967295"/>
          </p:nvPr>
        </p:nvSpPr>
        <p:spPr>
          <a:xfrm>
            <a:off x="0" y="0"/>
            <a:ext cx="0" cy="0"/>
          </a:xfrm>
        </p:spPr>
        <p:txBody>
          <a:bodyPr/>
          <a:lstStyle/>
          <a:p>
            <a:r>
              <a:t>Texte:</a:t>
            </a:r>
          </a:p>
          <a:p>
            <a:r>
              <a:t>8</a:t>
            </a:r>
          </a:p>
        </p:txBody>
      </p:sp>
      <p:pic>
        <p:nvPicPr>
          <p:cNvPr id="4" name="Graphic 3">
            <a:extLst>
              <a:ext uri="{FF2B5EF4-FFF2-40B4-BE49-F238E27FC236}">
                <a16:creationId xmlns:a16="http://schemas.microsoft.com/office/drawing/2014/main" id="{BF1F1C81-2B09-460D-630F-DA706F63A75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7556" y="1292837"/>
            <a:ext cx="2226935" cy="2554801"/>
          </a:xfrm>
          <a:prstGeom prst="rect">
            <a:avLst/>
          </a:prstGeom>
        </p:spPr>
      </p:pic>
      <p:sp>
        <p:nvSpPr>
          <p:cNvPr id="2" name="!!Title 1">
            <a:extLst>
              <a:ext uri="{FF2B5EF4-FFF2-40B4-BE49-F238E27FC236}">
                <a16:creationId xmlns:a16="http://schemas.microsoft.com/office/drawing/2014/main" id="{58B45E38-E3E3-38EB-3E43-AF49D7693085}"/>
              </a:ext>
            </a:extLst>
          </p:cNvPr>
          <p:cNvSpPr txBox="1">
            <a:spLocks/>
          </p:cNvSpPr>
          <p:nvPr/>
        </p:nvSpPr>
        <p:spPr>
          <a:xfrm>
            <a:off x="-7532711" y="1008037"/>
            <a:ext cx="8221663" cy="2125619"/>
          </a:xfrm>
          <a:prstGeom prst="rect">
            <a:avLst/>
          </a:prstGeom>
        </p:spPr>
        <p:txBody>
          <a:bodyPr/>
          <a:lstStyle>
            <a:lvl1pPr algn="l" defTabSz="914287" rtl="0" eaLnBrk="1" latinLnBrk="0" hangingPunct="1">
              <a:spcBef>
                <a:spcPct val="0"/>
              </a:spcBef>
              <a:buNone/>
              <a:defRPr sz="2599" b="1" i="0" kern="1200">
                <a:solidFill>
                  <a:schemeClr val="bg1"/>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t>Texte :</a:t>
            </a:r>
          </a:p>
          <a:p>
            <a:r>
              <a:t>Réseau</a:t>
            </a:r>
          </a:p>
          <a:p>
            <a:r>
              <a:t>Unité Commerciale</a:t>
            </a:r>
          </a:p>
          <a:p>
            <a:r>
              <a:t>Déploiement de la Stratégie</a:t>
            </a:r>
          </a:p>
        </p:txBody>
      </p:sp>
      <p:sp>
        <p:nvSpPr>
          <p:cNvPr id="5" name="!!Subtitle 2">
            <a:extLst>
              <a:ext uri="{FF2B5EF4-FFF2-40B4-BE49-F238E27FC236}">
                <a16:creationId xmlns:a16="http://schemas.microsoft.com/office/drawing/2014/main" id="{4FEF5C02-A543-E42F-8B7B-1F21C4A2E86C}"/>
              </a:ext>
            </a:extLst>
          </p:cNvPr>
          <p:cNvSpPr txBox="1">
            <a:spLocks/>
          </p:cNvSpPr>
          <p:nvPr/>
        </p:nvSpPr>
        <p:spPr>
          <a:xfrm>
            <a:off x="-7532711" y="3400424"/>
            <a:ext cx="8221663" cy="735037"/>
          </a:xfrm>
          <a:prstGeom prst="rect">
            <a:avLst/>
          </a:prstGeom>
        </p:spPr>
        <p:txBody>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04.02.2025</a:t>
            </a:r>
          </a:p>
        </p:txBody>
      </p:sp>
      <p:pic>
        <p:nvPicPr>
          <p:cNvPr id="6" name="!!px_logo">
            <a:extLst>
              <a:ext uri="{FF2B5EF4-FFF2-40B4-BE49-F238E27FC236}">
                <a16:creationId xmlns:a16="http://schemas.microsoft.com/office/drawing/2014/main" id="{507D1DFC-BB0F-B439-B047-1CFCABBFE658}"/>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532711" y="4279105"/>
            <a:ext cx="684532" cy="554831"/>
          </a:xfrm>
          <a:prstGeom prst="rect">
            <a:avLst/>
          </a:prstGeom>
        </p:spPr>
      </p:pic>
    </p:spTree>
    <p:extLst>
      <p:ext uri="{BB962C8B-B14F-4D97-AF65-F5344CB8AC3E}">
        <p14:creationId xmlns:p14="http://schemas.microsoft.com/office/powerpoint/2010/main" val="859508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3936CA40-3CE6-C843-D0BC-97A7D88CEE20}"/>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873CEB2-E375-1696-1443-C35CC9E39F2C}"/>
              </a:ext>
            </a:extLst>
          </p:cNvPr>
          <p:cNvSpPr>
            <a:spLocks noGrp="1"/>
          </p:cNvSpPr>
          <p:nvPr>
            <p:ph type="title"/>
          </p:nvPr>
        </p:nvSpPr>
        <p:spPr>
          <a:xfrm>
            <a:off x="460377" y="0"/>
            <a:ext cx="8221663" cy="1923750"/>
          </a:xfrm>
        </p:spPr>
        <p:txBody>
          <a:bodyPr anchor="ctr"/>
          <a:lstStyle/>
          <a:p>
            <a:r>
              <a:t>Texte :</a:t>
            </a:r>
          </a:p>
          <a:p>
            <a:r>
              <a:t>Contexte difficile</a:t>
            </a:r>
          </a:p>
        </p:txBody>
      </p:sp>
      <p:sp>
        <p:nvSpPr>
          <p:cNvPr id="5" name="Text Placeholder 4">
            <a:extLst>
              <a:ext uri="{FF2B5EF4-FFF2-40B4-BE49-F238E27FC236}">
                <a16:creationId xmlns:a16="http://schemas.microsoft.com/office/drawing/2014/main" id="{D0B0EFE8-8D4C-09FB-7F13-21AC5B0E958A}"/>
              </a:ext>
            </a:extLst>
          </p:cNvPr>
          <p:cNvSpPr>
            <a:spLocks noGrp="1"/>
          </p:cNvSpPr>
          <p:nvPr>
            <p:ph type="body" sz="quarter" idx="13"/>
          </p:nvPr>
        </p:nvSpPr>
        <p:spPr>
          <a:xfrm>
            <a:off x="1196838" y="1743675"/>
            <a:ext cx="2384367" cy="1296000"/>
          </a:xfrm>
          <a:gradFill>
            <a:gsLst>
              <a:gs pos="0">
                <a:schemeClr val="tx2"/>
              </a:gs>
              <a:gs pos="99000">
                <a:schemeClr val="bg1"/>
              </a:gs>
            </a:gsLst>
            <a:lin ang="2700000" scaled="1"/>
          </a:gradFill>
        </p:spPr>
        <p:txBody>
          <a:bodyPr anchor="ctr"/>
          <a:lstStyle/>
          <a:p>
            <a:r>
              <a:t>Texte :</a:t>
            </a:r>
          </a:p>
          <a:p>
            <a:r>
              <a:t>Compétition</a:t>
            </a:r>
          </a:p>
          <a:p>
            <a:r>
              <a:t>DIGI</a:t>
            </a:r>
          </a:p>
        </p:txBody>
      </p:sp>
      <p:sp>
        <p:nvSpPr>
          <p:cNvPr id="6" name="Text Placeholder 5">
            <a:extLst>
              <a:ext uri="{FF2B5EF4-FFF2-40B4-BE49-F238E27FC236}">
                <a16:creationId xmlns:a16="http://schemas.microsoft.com/office/drawing/2014/main" id="{1B6AC534-0D99-6F1B-6F5F-6481A19F952A}"/>
              </a:ext>
            </a:extLst>
          </p:cNvPr>
          <p:cNvSpPr>
            <a:spLocks noGrp="1"/>
          </p:cNvSpPr>
          <p:nvPr>
            <p:ph type="body" sz="quarter" idx="14"/>
          </p:nvPr>
        </p:nvSpPr>
        <p:spPr>
          <a:xfrm>
            <a:off x="3748047" y="1743675"/>
            <a:ext cx="2384367" cy="1296000"/>
          </a:xfrm>
          <a:gradFill>
            <a:gsLst>
              <a:gs pos="0">
                <a:schemeClr val="tx2"/>
              </a:gs>
              <a:gs pos="99000">
                <a:schemeClr val="bg1"/>
              </a:gs>
            </a:gsLst>
            <a:lin ang="2700000" scaled="1"/>
          </a:gradFill>
        </p:spPr>
        <p:txBody>
          <a:bodyPr anchor="ctr"/>
          <a:lstStyle/>
          <a:p>
            <a:r>
              <a:t>Texte :</a:t>
            </a:r>
          </a:p>
          <a:p>
            <a:r>
              <a:t>Nouvelles</a:t>
            </a:r>
          </a:p>
          <a:p>
            <a:r>
              <a:t>collaborations</a:t>
            </a:r>
          </a:p>
        </p:txBody>
      </p:sp>
      <p:sp>
        <p:nvSpPr>
          <p:cNvPr id="7" name="Text Placeholder 6">
            <a:extLst>
              <a:ext uri="{FF2B5EF4-FFF2-40B4-BE49-F238E27FC236}">
                <a16:creationId xmlns:a16="http://schemas.microsoft.com/office/drawing/2014/main" id="{28392F01-4566-B416-C388-B1ADA5ACE3A0}"/>
              </a:ext>
            </a:extLst>
          </p:cNvPr>
          <p:cNvSpPr>
            <a:spLocks noGrp="1"/>
          </p:cNvSpPr>
          <p:nvPr>
            <p:ph type="body" sz="quarter" idx="15"/>
          </p:nvPr>
        </p:nvSpPr>
        <p:spPr>
          <a:xfrm>
            <a:off x="6299255" y="1743675"/>
            <a:ext cx="2384367" cy="1296000"/>
          </a:xfrm>
          <a:gradFill>
            <a:gsLst>
              <a:gs pos="0">
                <a:schemeClr val="tx2"/>
              </a:gs>
              <a:gs pos="99000">
                <a:schemeClr val="bg1"/>
              </a:gs>
            </a:gsLst>
            <a:lin ang="2700000" scaled="1"/>
          </a:gradFill>
        </p:spPr>
        <p:txBody>
          <a:bodyPr anchor="ctr"/>
          <a:lstStyle/>
          <a:p>
            <a:r>
              <a:t>Texte:</a:t>
            </a:r>
          </a:p>
          <a:p>
            <a:r>
              <a:t>Coax</a:t>
            </a:r>
          </a:p>
        </p:txBody>
      </p:sp>
      <p:sp>
        <p:nvSpPr>
          <p:cNvPr id="9" name="Text Placeholder 8">
            <a:extLst>
              <a:ext uri="{FF2B5EF4-FFF2-40B4-BE49-F238E27FC236}">
                <a16:creationId xmlns:a16="http://schemas.microsoft.com/office/drawing/2014/main" id="{F560665C-D783-F962-34D6-0DA08992EA49}"/>
              </a:ext>
            </a:extLst>
          </p:cNvPr>
          <p:cNvSpPr>
            <a:spLocks noGrp="1"/>
          </p:cNvSpPr>
          <p:nvPr>
            <p:ph type="body" sz="quarter" idx="16"/>
          </p:nvPr>
        </p:nvSpPr>
        <p:spPr>
          <a:xfrm>
            <a:off x="1189528" y="3399825"/>
            <a:ext cx="2384367" cy="1296000"/>
          </a:xfrm>
          <a:gradFill flip="none" rotWithShape="1">
            <a:gsLst>
              <a:gs pos="0">
                <a:schemeClr val="tx2"/>
              </a:gs>
              <a:gs pos="99000">
                <a:schemeClr val="bg1"/>
              </a:gs>
            </a:gsLst>
            <a:lin ang="13500000" scaled="1"/>
            <a:tileRect/>
          </a:gradFill>
        </p:spPr>
        <p:txBody>
          <a:bodyPr anchor="ctr"/>
          <a:lstStyle/>
          <a:p>
            <a:r>
              <a:t>Texte :</a:t>
            </a:r>
          </a:p>
          <a:p>
            <a:r>
              <a:t>Bienvenue</a:t>
            </a:r>
          </a:p>
          <a:p>
            <a:r>
              <a:t>Fiberklaar</a:t>
            </a:r>
          </a:p>
        </p:txBody>
      </p:sp>
      <p:sp>
        <p:nvSpPr>
          <p:cNvPr id="10" name="Text Placeholder 9">
            <a:extLst>
              <a:ext uri="{FF2B5EF4-FFF2-40B4-BE49-F238E27FC236}">
                <a16:creationId xmlns:a16="http://schemas.microsoft.com/office/drawing/2014/main" id="{3ABDF627-CEBC-5408-5CB3-F5ABCD95B6BE}"/>
              </a:ext>
            </a:extLst>
          </p:cNvPr>
          <p:cNvSpPr>
            <a:spLocks noGrp="1"/>
          </p:cNvSpPr>
          <p:nvPr>
            <p:ph type="body" sz="quarter" idx="17"/>
          </p:nvPr>
        </p:nvSpPr>
        <p:spPr>
          <a:xfrm>
            <a:off x="3748046" y="3399825"/>
            <a:ext cx="2384367" cy="1296000"/>
          </a:xfrm>
          <a:gradFill flip="none" rotWithShape="1">
            <a:gsLst>
              <a:gs pos="0">
                <a:schemeClr val="tx2"/>
              </a:gs>
              <a:gs pos="99000">
                <a:schemeClr val="bg1"/>
              </a:gs>
            </a:gsLst>
            <a:lin ang="13500000" scaled="1"/>
            <a:tileRect/>
          </a:gradFill>
        </p:spPr>
        <p:txBody>
          <a:bodyPr anchor="ctr"/>
          <a:lstStyle/>
          <a:p>
            <a:r>
              <a:t>Texte :</a:t>
            </a:r>
          </a:p>
          <a:p>
            <a:r>
              <a:t>Proximus</a:t>
            </a:r>
          </a:p>
          <a:p>
            <a:r>
              <a:t>gouvernance</a:t>
            </a:r>
          </a:p>
        </p:txBody>
      </p:sp>
      <p:sp>
        <p:nvSpPr>
          <p:cNvPr id="11" name="Text Placeholder 10">
            <a:extLst>
              <a:ext uri="{FF2B5EF4-FFF2-40B4-BE49-F238E27FC236}">
                <a16:creationId xmlns:a16="http://schemas.microsoft.com/office/drawing/2014/main" id="{26E06D84-A81B-E0A9-6451-ABD75B637D06}"/>
              </a:ext>
            </a:extLst>
          </p:cNvPr>
          <p:cNvSpPr>
            <a:spLocks noGrp="1"/>
          </p:cNvSpPr>
          <p:nvPr>
            <p:ph type="body" sz="quarter" idx="18"/>
          </p:nvPr>
        </p:nvSpPr>
        <p:spPr>
          <a:xfrm>
            <a:off x="6291945" y="3399825"/>
            <a:ext cx="2384367" cy="1296000"/>
          </a:xfrm>
          <a:gradFill flip="none" rotWithShape="1">
            <a:gsLst>
              <a:gs pos="0">
                <a:schemeClr val="tx2"/>
              </a:gs>
              <a:gs pos="99000">
                <a:schemeClr val="bg1"/>
              </a:gs>
            </a:gsLst>
            <a:lin ang="13500000" scaled="1"/>
            <a:tileRect/>
          </a:gradFill>
        </p:spPr>
        <p:txBody>
          <a:bodyPr anchor="ctr"/>
          <a:lstStyle/>
          <a:p>
            <a:r>
              <a:t>Texte :</a:t>
            </a:r>
          </a:p>
          <a:p>
            <a:r>
              <a:t>Proximus Global</a:t>
            </a:r>
          </a:p>
        </p:txBody>
      </p:sp>
      <p:sp>
        <p:nvSpPr>
          <p:cNvPr id="2" name="Text Placeholder 4">
            <a:extLst>
              <a:ext uri="{FF2B5EF4-FFF2-40B4-BE49-F238E27FC236}">
                <a16:creationId xmlns:a16="http://schemas.microsoft.com/office/drawing/2014/main" id="{6292D080-8A08-08EA-4E87-CEA85C16E3E4}"/>
              </a:ext>
            </a:extLst>
          </p:cNvPr>
          <p:cNvSpPr txBox="1">
            <a:spLocks/>
          </p:cNvSpPr>
          <p:nvPr/>
        </p:nvSpPr>
        <p:spPr>
          <a:xfrm rot="16200000">
            <a:off x="97186" y="2102658"/>
            <a:ext cx="1296001" cy="569622"/>
          </a:xfrm>
          <a:prstGeom prst="roundRect">
            <a:avLst>
              <a:gd name="adj" fmla="val 14699"/>
            </a:avLst>
          </a:prstGeom>
          <a:solidFill>
            <a:schemeClr val="bg1"/>
          </a:solidFill>
          <a:effectLst/>
        </p:spPr>
        <p:txBody>
          <a:bodyPr vert="horz" lIns="144000" tIns="144000" rIns="144000" bIns="14400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a:t>
            </a:r>
          </a:p>
          <a:p>
            <a:r>
              <a:t>Externe</a:t>
            </a:r>
          </a:p>
        </p:txBody>
      </p:sp>
      <p:sp>
        <p:nvSpPr>
          <p:cNvPr id="4" name="Text Placeholder 4">
            <a:extLst>
              <a:ext uri="{FF2B5EF4-FFF2-40B4-BE49-F238E27FC236}">
                <a16:creationId xmlns:a16="http://schemas.microsoft.com/office/drawing/2014/main" id="{481FCFF4-9B76-7502-5B87-72B537CA3C12}"/>
              </a:ext>
            </a:extLst>
          </p:cNvPr>
          <p:cNvSpPr txBox="1">
            <a:spLocks/>
          </p:cNvSpPr>
          <p:nvPr/>
        </p:nvSpPr>
        <p:spPr>
          <a:xfrm rot="16200000">
            <a:off x="104498" y="3763014"/>
            <a:ext cx="1296001" cy="569622"/>
          </a:xfrm>
          <a:prstGeom prst="roundRect">
            <a:avLst>
              <a:gd name="adj" fmla="val 14699"/>
            </a:avLst>
          </a:prstGeom>
          <a:solidFill>
            <a:schemeClr val="bg1"/>
          </a:solidFill>
          <a:effectLst/>
        </p:spPr>
        <p:txBody>
          <a:bodyPr vert="horz" lIns="144000" tIns="144000" rIns="144000" bIns="14400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t>Texte :</a:t>
            </a:r>
          </a:p>
          <a:p>
            <a:r>
              <a:t>Interne</a:t>
            </a:r>
          </a:p>
        </p:txBody>
      </p:sp>
    </p:spTree>
    <p:extLst>
      <p:ext uri="{BB962C8B-B14F-4D97-AF65-F5344CB8AC3E}">
        <p14:creationId xmlns:p14="http://schemas.microsoft.com/office/powerpoint/2010/main" val="2813603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5.0.0"/>
  <p:tag name="SLIDO_PRESENTATION_ID" val="8682f5ff-cd4f-44cf-a77f-3a1c0a5df86f"/>
  <p:tag name="SLIDO_EVENT_UUID" val="0e8f71c1-b467-4a51-87cb-8f0a8b75a176"/>
  <p:tag name="SLIDO_EVENT_SECTION_UUID" val="86d49e74-7811-4c92-b37f-928b1097c94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sPpfvS5Nb.HlgZmEaTX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iMn2V8BSjfKsY0G91fG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iMn2V8BSjfKsY0G91fGCg"/>
</p:tagLst>
</file>

<file path=ppt/theme/theme1.xml><?xml version="1.0" encoding="utf-8"?>
<a:theme xmlns:a="http://schemas.openxmlformats.org/drawingml/2006/main" name="PROXIMUS PPT TEMPLATE 2024">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36000" tIns="36000" rIns="36000" bIns="72000" rtlCol="0" anchor="ctr" anchorCtr="0"/>
      <a:lstStyle>
        <a:defPPr algn="ctr" defTabSz="1218418">
          <a:defRPr sz="1400" dirty="0" err="1" smtClean="0">
            <a:solidFill>
              <a:schemeClr val="tx1"/>
            </a:solidFill>
            <a:latin typeface="Proximus Bold" panose="00000500000000000000" pitchFamily="2" charset="0"/>
            <a:cs typeface="Proximus Bold"/>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noAutofit/>
      </a:bodyPr>
      <a:lstStyle>
        <a:defPPr algn="l" defTabSz="685800">
          <a:defRPr sz="1400" dirty="0">
            <a:solidFill>
              <a:srgbClr val="01112B"/>
            </a:solidFill>
            <a:latin typeface="Proximus Light" pitchFamily="2" charset="77"/>
          </a:defRPr>
        </a:defPPr>
      </a:lstStyle>
    </a:txDef>
  </a:objectDefaults>
  <a:extraClrSchemeLst/>
  <a:extLst>
    <a:ext uri="{05A4C25C-085E-4340-85A3-A5531E510DB2}">
      <thm15:themeFamily xmlns:thm15="http://schemas.microsoft.com/office/thememl/2012/main" name="proximus_powerpoint_template_july_2024_EXTENDED.potx" id="{28339276-52B6-457B-BEC6-DFC6C5390E5E}" vid="{46353CD0-7065-499B-9D18-05C44B559E4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2c3df29-7361-4daf-adf3-5ce298dcb979">
      <UserInfo>
        <DisplayName>DE KEYZER Baudouin (FIN/GRA)</DisplayName>
        <AccountId>214</AccountId>
        <AccountType/>
      </UserInfo>
      <UserInfo>
        <DisplayName>DE BAERDEMAEKER Tom (PSI/DSM)</DisplayName>
        <AccountId>277</AccountId>
        <AccountType/>
      </UserInfo>
      <UserInfo>
        <DisplayName>SA Cesar (DPE/DIT)</DisplayName>
        <AccountId>1650</AccountId>
        <AccountType/>
      </UserInfo>
      <UserInfo>
        <DisplayName>POTVIN Christophe (DAT/BIA)</DisplayName>
        <AccountId>16</AccountId>
        <AccountType/>
      </UserInfo>
      <UserInfo>
        <DisplayName>DEMOOR Thierry (CSC/MST)</DisplayName>
        <AccountId>2049</AccountId>
        <AccountType/>
      </UserInfo>
      <UserInfo>
        <DisplayName>GILLEMAN Kristof (DCH/SEP)</DisplayName>
        <AccountId>23</AccountId>
        <AccountType/>
      </UserInfo>
      <UserInfo>
        <DisplayName>LEBLANC Sébastien (CBU/MST)</DisplayName>
        <AccountId>570</AccountId>
        <AccountType/>
      </UserInfo>
      <UserInfo>
        <DisplayName>PINNOY Joost (DCH/DIT)</DisplayName>
        <AccountId>1610</AccountId>
        <AccountType/>
      </UserInfo>
      <UserInfo>
        <DisplayName>ZINQUE Véronique (DCH/DST)</DisplayName>
        <AccountId>19</AccountId>
        <AccountType/>
      </UserInfo>
      <UserInfo>
        <DisplayName>KELCHTERMANS Geert (EBU/MST)</DisplayName>
        <AccountId>24</AccountId>
        <AccountType/>
      </UserInfo>
      <UserInfo>
        <DisplayName>VAN LIEFDE Katrien (CMA/GMA)</DisplayName>
        <AccountId>8</AccountId>
        <AccountType/>
      </UserInfo>
      <UserInfo>
        <DisplayName>VAN DAMME Jan (DAT/BIA)</DisplayName>
        <AccountId>18</AccountId>
        <AccountType/>
      </UserInfo>
      <UserInfo>
        <DisplayName>VERWAERDE Quentin (DAT/BIA)</DisplayName>
        <AccountId>15</AccountId>
        <AccountType/>
      </UserInfo>
      <UserInfo>
        <DisplayName>VAN DER AA Britt (DAT/BIA)</DisplayName>
        <AccountId>79</AccountId>
        <AccountType/>
      </UserInfo>
      <UserInfo>
        <DisplayName>GLIBERT Samantha (DAT/BIA)</DisplayName>
        <AccountId>784</AccountId>
        <AccountType/>
      </UserInfo>
      <UserInfo>
        <DisplayName>WAGEMANS Phoebe (DAT/BIA)</DisplayName>
        <AccountId>830</AccountId>
        <AccountType/>
      </UserInfo>
      <UserInfo>
        <DisplayName>RASQUAIN Célestine (DAT/BIA)</DisplayName>
        <AccountId>1489</AccountId>
        <AccountType/>
      </UserInfo>
      <UserInfo>
        <DisplayName>BENDER Thibaut (DAG/DAN)</DisplayName>
        <AccountId>2074</AccountId>
        <AccountType/>
      </UserInfo>
      <UserInfo>
        <DisplayName>CAMPS Kristof (PIX/MST)</DisplayName>
        <AccountId>2798</AccountId>
        <AccountType/>
      </UserInfo>
      <UserInfo>
        <DisplayName>DA EIRA BOOGAARD Sylvain (PIX/MST)</DisplayName>
        <AccountId>2796</AccountId>
        <AccountType/>
      </UserInfo>
      <UserInfo>
        <DisplayName>BREUCKELAERS Jolien (IDG/CCO)</DisplayName>
        <AccountId>1845</AccountId>
        <AccountType/>
      </UserInfo>
      <UserInfo>
        <DisplayName>ROBERT Mélody (CBU/MST)</DisplayName>
        <AccountId>169</AccountId>
        <AccountType/>
      </UserInfo>
      <UserInfo>
        <DisplayName>STEVENS Arno (DTI/MST)</DisplayName>
        <AccountId>2854</AccountId>
        <AccountType/>
      </UserInfo>
      <UserInfo>
        <DisplayName>SWINNE Annick (IDG/CCO)</DisplayName>
        <AccountId>3326</AccountId>
        <AccountType/>
      </UserInfo>
      <UserInfo>
        <DisplayName>AUDOUX Jean-Marc (CUO/MST)</DisplayName>
        <AccountId>3462</AccountId>
        <AccountType/>
      </UserInfo>
      <UserInfo>
        <DisplayName>VAN DE WALLE Grégory (DAT/BIA)</DisplayName>
        <AccountId>68</AccountId>
        <AccountType/>
      </UserInfo>
    </SharedWithUsers>
    <TaxCatchAll xmlns="d2c3df29-7361-4daf-adf3-5ce298dcb979" xsi:nil="true"/>
    <lcf76f155ced4ddcb4097134ff3c332f xmlns="600a7a98-4f0a-4b33-9836-31997d223ee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52E85D166E93349AA8CA22A34DA95CB" ma:contentTypeVersion="18" ma:contentTypeDescription="Create a new document." ma:contentTypeScope="" ma:versionID="984f9af3b26da998800927264b066151">
  <xsd:schema xmlns:xsd="http://www.w3.org/2001/XMLSchema" xmlns:xs="http://www.w3.org/2001/XMLSchema" xmlns:p="http://schemas.microsoft.com/office/2006/metadata/properties" xmlns:ns2="600a7a98-4f0a-4b33-9836-31997d223ee1" xmlns:ns3="d2c3df29-7361-4daf-adf3-5ce298dcb979" targetNamespace="http://schemas.microsoft.com/office/2006/metadata/properties" ma:root="true" ma:fieldsID="abdca328df229342ff5dbab9785efdbb" ns2:_="" ns3:_="">
    <xsd:import namespace="600a7a98-4f0a-4b33-9836-31997d223ee1"/>
    <xsd:import namespace="d2c3df29-7361-4daf-adf3-5ce298dcb9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AutoKeyPoints" minOccurs="0"/>
                <xsd:element ref="ns2:MediaServiceKeyPoint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a7a98-4f0a-4b33-9836-31997d223e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d87ef712-6762-4fe1-8dee-011cac3c7593"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c3df29-7361-4daf-adf3-5ce298dcb9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dd66c63-bbdd-4705-a26e-fbb9a01140a0}" ma:internalName="TaxCatchAll" ma:showField="CatchAllData" ma:web="d2c3df29-7361-4daf-adf3-5ce298dcb9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E81F5A-9F98-4B82-86BE-63B5DA137825}">
  <ds:schemaRefs>
    <ds:schemaRef ds:uri="http://schemas.microsoft.com/sharepoint/v3/contenttype/forms"/>
  </ds:schemaRefs>
</ds:datastoreItem>
</file>

<file path=customXml/itemProps2.xml><?xml version="1.0" encoding="utf-8"?>
<ds:datastoreItem xmlns:ds="http://schemas.openxmlformats.org/officeDocument/2006/customXml" ds:itemID="{DE46E095-903F-4B72-802E-E66A02A82A79}">
  <ds:schemaRefs>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761ce2df-bb61-45c2-b644-7e72b6fdb77b"/>
    <ds:schemaRef ds:uri="d5f69bac-297e-43e5-a603-2faf182aa439"/>
    <ds:schemaRef ds:uri="http://schemas.microsoft.com/office/infopath/2007/PartnerControls"/>
    <ds:schemaRef ds:uri="e2a18d34-138a-4fc2-9772-3e6214759376"/>
    <ds:schemaRef ds:uri="http://schemas.microsoft.com/office/2006/metadata/properties"/>
    <ds:schemaRef ds:uri="http://www.w3.org/XML/1998/namespace"/>
    <ds:schemaRef ds:uri="d2c3df29-7361-4daf-adf3-5ce298dcb979"/>
    <ds:schemaRef ds:uri="600a7a98-4f0a-4b33-9836-31997d223ee1"/>
  </ds:schemaRefs>
</ds:datastoreItem>
</file>

<file path=customXml/itemProps3.xml><?xml version="1.0" encoding="utf-8"?>
<ds:datastoreItem xmlns:ds="http://schemas.openxmlformats.org/officeDocument/2006/customXml" ds:itemID="{9A218B13-9B6B-4CAF-A6B0-C540B372AC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0a7a98-4f0a-4b33-9836-31997d223ee1"/>
    <ds:schemaRef ds:uri="d2c3df29-7361-4daf-adf3-5ce298dcb9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OXIMUS PPT TEMPLATE 2024</Template>
  <TotalTime>220</TotalTime>
  <Words>9456</Words>
  <Application>Microsoft Macintosh PowerPoint</Application>
  <PresentationFormat>On-screen Show (16:9)</PresentationFormat>
  <Paragraphs>914</Paragraphs>
  <Slides>65</Slides>
  <Notes>65</Notes>
  <HiddenSlides>0</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65</vt:i4>
      </vt:variant>
    </vt:vector>
  </HeadingPairs>
  <TitlesOfParts>
    <vt:vector size="81" baseType="lpstr">
      <vt:lpstr>Symbol</vt:lpstr>
      <vt:lpstr>Proximus Light</vt:lpstr>
      <vt:lpstr>Calibri</vt:lpstr>
      <vt:lpstr>Wingdings</vt:lpstr>
      <vt:lpstr>Aptos</vt:lpstr>
      <vt:lpstr>Proximus (Body)</vt:lpstr>
      <vt:lpstr>Times New Roman</vt:lpstr>
      <vt:lpstr>Proximus</vt:lpstr>
      <vt:lpstr>Courier New</vt:lpstr>
      <vt:lpstr>Arial</vt:lpstr>
      <vt:lpstr>Arial Black</vt:lpstr>
      <vt:lpstr>Montserrat</vt:lpstr>
      <vt:lpstr>Segoe UI</vt:lpstr>
      <vt:lpstr>Proximus Bold</vt:lpstr>
      <vt:lpstr>Proximus ExtraBold</vt:lpstr>
      <vt:lpstr>PROXIMUS PPT TEMPLATE 2024</vt:lpstr>
      <vt:lpstr>All NBU  Strategy  Cascade </vt:lpstr>
      <vt:lpstr>PowerPoint Presentation</vt:lpstr>
      <vt:lpstr>On  today’s  menu</vt:lpstr>
      <vt:lpstr>Scan Slido QR code for quiz &amp; Q&amp;A</vt:lpstr>
      <vt:lpstr>PowerPoint Presentation</vt:lpstr>
      <vt:lpstr>Thank you for your feedback! </vt:lpstr>
      <vt:lpstr>PowerPoint Presentation</vt:lpstr>
      <vt:lpstr>PowerPoint Presentation</vt:lpstr>
      <vt:lpstr>Challenging context</vt:lpstr>
      <vt:lpstr>PowerPoint Presentation</vt:lpstr>
      <vt:lpstr>PowerPoint Presentation</vt:lpstr>
      <vt:lpstr>PowerPoint Presentation</vt:lpstr>
      <vt:lpstr>PowerPoint Presentation</vt:lpstr>
      <vt:lpstr>Bold experiences</vt:lpstr>
      <vt:lpstr>Gigabit for all</vt:lpstr>
      <vt:lpstr>Gigabit for all</vt:lpstr>
      <vt:lpstr>What does HFC mean?</vt:lpstr>
      <vt:lpstr>Gigabit for all in 2025</vt:lpstr>
      <vt:lpstr>Mobile leadership</vt:lpstr>
      <vt:lpstr>Mobile leadership</vt:lpstr>
      <vt:lpstr>Mobile leadership in 2025</vt:lpstr>
      <vt:lpstr>PowerPoint Presentation</vt:lpstr>
      <vt:lpstr>Multi-access experience</vt:lpstr>
      <vt:lpstr>Multi-access experience in 2025</vt:lpstr>
      <vt:lpstr>PowerPoint Presentation</vt:lpstr>
      <vt:lpstr>Bold efficiency</vt:lpstr>
      <vt:lpstr>Building the path to autonomous networks</vt:lpstr>
      <vt:lpstr>Elevating efficiency through automation &amp; AI in 2025</vt:lpstr>
      <vt:lpstr>What does NASA stand for?</vt:lpstr>
      <vt:lpstr>PowerPoint Presentation</vt:lpstr>
      <vt:lpstr>Copper switch-off</vt:lpstr>
      <vt:lpstr>PowerPoint Presentation</vt:lpstr>
      <vt:lpstr>Building outphasing</vt:lpstr>
      <vt:lpstr>Building outphasing</vt:lpstr>
      <vt:lpstr>Building outphasing in 2025</vt:lpstr>
      <vt:lpstr>Evolve our NBU operating model</vt:lpstr>
      <vt:lpstr>What is GO fit light?</vt:lpstr>
      <vt:lpstr>Reviewed operational model in 2025</vt:lpstr>
      <vt:lpstr>PowerPoint Presentation</vt:lpstr>
      <vt:lpstr>PowerPoint Presentation</vt:lpstr>
      <vt:lpstr>PowerPoint Presentation</vt:lpstr>
      <vt:lpstr>PowerPoint Presentation</vt:lpstr>
      <vt:lpstr>Bold future-proofness</vt:lpstr>
      <vt:lpstr>Network foundations</vt:lpstr>
      <vt:lpstr>What does OSS stand for?</vt:lpstr>
      <vt:lpstr>Network foundations in 2025</vt:lpstr>
      <vt:lpstr>Platforms</vt:lpstr>
      <vt:lpstr>What does CNF stand for?</vt:lpstr>
      <vt:lpstr>Platforms in 2025</vt:lpstr>
      <vt:lpstr>Monetizing telco assets</vt:lpstr>
      <vt:lpstr>Monetizing telco assets in 2025</vt:lpstr>
      <vt:lpstr>PowerPoint Presentation</vt:lpstr>
      <vt:lpstr>Sustainability (focus on energy)</vt:lpstr>
      <vt:lpstr>Sustainability in 2025</vt:lpstr>
      <vt:lpstr>PowerPoint Presentation</vt:lpstr>
      <vt:lpstr>PowerPoint Presentation</vt:lpstr>
      <vt:lpstr>Bold people in 2025</vt:lpstr>
      <vt:lpstr>PowerPoint Presentation</vt:lpstr>
      <vt:lpstr>PowerPoint Presentation</vt:lpstr>
      <vt:lpstr> What we expect from you</vt:lpstr>
      <vt:lpstr> What you can expect from us</vt:lpstr>
      <vt:lpstr>PowerPoint Presentation</vt:lpstr>
      <vt:lpstr>PowerPoint Presentation</vt:lpstr>
      <vt:lpstr>PowerPoint Presentation</vt:lpstr>
      <vt:lpstr>All NBU  Strategy  Cascad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PITTE Sarah (BCM/BCS)</dc:creator>
  <cp:lastModifiedBy>Erik Hubin</cp:lastModifiedBy>
  <cp:revision>2</cp:revision>
  <cp:lastPrinted>2025-01-28T14:03:57Z</cp:lastPrinted>
  <dcterms:created xsi:type="dcterms:W3CDTF">2024-11-13T10:05:10Z</dcterms:created>
  <dcterms:modified xsi:type="dcterms:W3CDTF">2025-02-03T15:5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_personaldata">
    <vt:lpwstr/>
  </property>
  <property fmtid="{D5CDD505-2E9C-101B-9397-08002B2CF9AE}" pid="3" name="c_confidentiality">
    <vt:lpwstr/>
  </property>
  <property fmtid="{D5CDD505-2E9C-101B-9397-08002B2CF9AE}" pid="4" name="c_language">
    <vt:lpwstr/>
  </property>
  <property fmtid="{D5CDD505-2E9C-101B-9397-08002B2CF9AE}" pid="5" name="MSIP_Label_a6eba274-df3c-4a6b-9802-8e3b88401ee3_Enabled">
    <vt:lpwstr>true</vt:lpwstr>
  </property>
  <property fmtid="{D5CDD505-2E9C-101B-9397-08002B2CF9AE}" pid="6" name="MSIP_Label_a6eba274-df3c-4a6b-9802-8e3b88401ee3_SetDate">
    <vt:lpwstr>2023-05-09T08:25:51Z</vt:lpwstr>
  </property>
  <property fmtid="{D5CDD505-2E9C-101B-9397-08002B2CF9AE}" pid="7" name="MSIP_Label_a6eba274-df3c-4a6b-9802-8e3b88401ee3_Method">
    <vt:lpwstr>Privileged</vt:lpwstr>
  </property>
  <property fmtid="{D5CDD505-2E9C-101B-9397-08002B2CF9AE}" pid="8" name="MSIP_Label_a6eba274-df3c-4a6b-9802-8e3b88401ee3_Name">
    <vt:lpwstr>a6eba274-df3c-4a6b-9802-8e3b88401ee3</vt:lpwstr>
  </property>
  <property fmtid="{D5CDD505-2E9C-101B-9397-08002B2CF9AE}" pid="9" name="MSIP_Label_a6eba274-df3c-4a6b-9802-8e3b88401ee3_SiteId">
    <vt:lpwstr>e7ab81b2-1e84-4bf7-9dcb-b6fec01ed138</vt:lpwstr>
  </property>
  <property fmtid="{D5CDD505-2E9C-101B-9397-08002B2CF9AE}" pid="10" name="MSIP_Label_a6eba274-df3c-4a6b-9802-8e3b88401ee3_ActionId">
    <vt:lpwstr>69bc3b74-3a88-4bc8-8a74-5f020ac228f4</vt:lpwstr>
  </property>
  <property fmtid="{D5CDD505-2E9C-101B-9397-08002B2CF9AE}" pid="11" name="MSIP_Label_a6eba274-df3c-4a6b-9802-8e3b88401ee3_ContentBits">
    <vt:lpwstr>2</vt:lpwstr>
  </property>
  <property fmtid="{D5CDD505-2E9C-101B-9397-08002B2CF9AE}" pid="12" name="MediaServiceImageTags">
    <vt:lpwstr/>
  </property>
  <property fmtid="{D5CDD505-2E9C-101B-9397-08002B2CF9AE}" pid="13" name="ContentTypeId">
    <vt:lpwstr>0x010100852E85D166E93349AA8CA22A34DA95CB</vt:lpwstr>
  </property>
</Properties>
</file>